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12"/>
  </p:notesMasterIdLst>
  <p:sldIdLst>
    <p:sldId id="2134805458" r:id="rId5"/>
    <p:sldId id="2134805463" r:id="rId6"/>
    <p:sldId id="3056" r:id="rId7"/>
    <p:sldId id="2134805465" r:id="rId8"/>
    <p:sldId id="2134805464" r:id="rId9"/>
    <p:sldId id="2134805466" r:id="rId10"/>
    <p:sldId id="213480546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8A0DB4-02F8-4249-8770-A4B86C3D3E72}">
          <p14:sldIdLst>
            <p14:sldId id="2134805458"/>
            <p14:sldId id="2134805463"/>
            <p14:sldId id="3056"/>
            <p14:sldId id="2134805465"/>
            <p14:sldId id="2134805464"/>
            <p14:sldId id="2134805466"/>
            <p14:sldId id="21348054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4B4B4B"/>
    <a:srgbClr val="F3F2F1"/>
    <a:srgbClr val="737373"/>
    <a:srgbClr val="B10034"/>
    <a:srgbClr val="2D89CC"/>
    <a:srgbClr val="F18700"/>
    <a:srgbClr val="009260"/>
    <a:srgbClr val="5F5F5F"/>
    <a:srgbClr val="006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CB96B6-374F-6A90-DE5D-1FE8786A806E}" v="271" dt="2023-07-11T11:28:49.065"/>
    <p1510:client id="{1DF19BE0-71F3-44BB-B1DE-0A750F8F3B1B}" v="22" dt="2023-07-03T08:41:39.943"/>
    <p1510:client id="{B7389622-570D-2E73-BA8E-E3A6CB2556C3}" v="3" dt="2023-07-03T07:31:51.533"/>
    <p1510:client id="{E2249FD2-83B0-5C58-FB0B-AF2D73D10962}" v="1" dt="2023-08-22T13:31:23.677"/>
    <p1510:client id="{F7B9441A-8797-BCFA-C3AB-58AF8CABB829}" v="48" dt="2023-07-11T12:28:03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08" y="34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rtschaftsinformatik.fraunhofer.de/" TargetMode="External"/><Relationship Id="rId2" Type="http://schemas.openxmlformats.org/officeDocument/2006/relationships/hyperlink" Target="http://www.fim-rc.de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gif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Beliebige*r Vortragende*r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600" b="0">
                <a:solidFill>
                  <a:srgbClr val="4B4B4B"/>
                </a:solidFill>
              </a:rPr>
              <a:t>ABBA – AI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Business I Business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AI </a:t>
            </a:r>
          </a:p>
          <a:p>
            <a:pPr lvl="0"/>
            <a:endParaRPr lang="en-US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86DF2652-0633-451E-ACFC-CBD7DD368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8555" y="3045600"/>
            <a:ext cx="7092583" cy="2753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err="1"/>
              <a:t>Titel</a:t>
            </a:r>
            <a:r>
              <a:rPr lang="en-US"/>
              <a:t> und Name der/des </a:t>
            </a:r>
            <a:r>
              <a:rPr lang="en-US" err="1"/>
              <a:t>Vortragenden</a:t>
            </a:r>
            <a:endParaRPr lang="en-US"/>
          </a:p>
          <a:p>
            <a:pPr lvl="0"/>
            <a:endParaRPr lang="en-US"/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>
              <a:solidFill>
                <a:srgbClr val="4B4B4B"/>
              </a:solidFill>
            </a:endParaRP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08288"/>
            <a:ext cx="7106424" cy="23604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B59ADC-D240-4941-9DD5-203A92C371F5}"/>
              </a:ext>
            </a:extLst>
          </p:cNvPr>
          <p:cNvSpPr txBox="1"/>
          <p:nvPr userDrawn="1"/>
        </p:nvSpPr>
        <p:spPr>
          <a:xfrm>
            <a:off x="4548554" y="608400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6" name="Grafik 5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F1BC8438-F46A-49DE-9E12-6433272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46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DD8DEB7-EECE-41B5-A699-A0C1ACDEA65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Fußzeilenplatzhalter 12">
            <a:extLst>
              <a:ext uri="{FF2B5EF4-FFF2-40B4-BE49-F238E27FC236}">
                <a16:creationId xmlns:a16="http://schemas.microsoft.com/office/drawing/2014/main" id="{783AA3FD-B3F6-4BCC-A437-23D9555B6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6422D8EC-C3CA-413D-B435-E23AABA2009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153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Inhalt_Inhal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9489B-C028-491F-9223-F844E39D7CF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FC4F1D9E-2891-459E-A138-47D4E6D1B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</a:t>
            </a:r>
            <a:r>
              <a:rPr lang="de-DE">
                <a:solidFill>
                  <a:srgbClr val="8C8C8C"/>
                </a:solidFill>
              </a:rPr>
              <a:t>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9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_Bild_2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4210E-BA9E-4AAE-A02B-C8663630990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76FF18B-9FBA-49AD-932B-0F51BF1E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E1CC6-E1D9-4ACA-B848-8CCC9A0AEA2B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7874AAE9-7808-455B-867F-10BC79D57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6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5035A-49E1-4B84-B8D7-F3EFDA503BB2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7" name="Fußzeilenplatzhalter 12">
            <a:extLst>
              <a:ext uri="{FF2B5EF4-FFF2-40B4-BE49-F238E27FC236}">
                <a16:creationId xmlns:a16="http://schemas.microsoft.com/office/drawing/2014/main" id="{C5024CEA-7402-4E7E-B545-CDDEDE842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47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Bild_Inhalt_1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1BACA-32E6-4A4E-9E1B-9B172B94C0A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3589" y="1449389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A9AE359E-EB56-401E-AEDC-551F51CD8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Nur Titel</a:t>
            </a:r>
            <a:br>
              <a:rPr lang="de-DE"/>
            </a:br>
            <a:r>
              <a:rPr lang="de-DE"/>
              <a:t>Zur freien Gestaltun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ußzeilenplatzhalter 12">
            <a:extLst>
              <a:ext uri="{FF2B5EF4-FFF2-40B4-BE49-F238E27FC236}">
                <a16:creationId xmlns:a16="http://schemas.microsoft.com/office/drawing/2014/main" id="{06596C1B-AB91-43EC-98A6-4016B7FB41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740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713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43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59">
            <a:extLst>
              <a:ext uri="{FF2B5EF4-FFF2-40B4-BE49-F238E27FC236}">
                <a16:creationId xmlns:a16="http://schemas.microsoft.com/office/drawing/2014/main" id="{8B16DD28-3358-41ED-A6FD-FD0CE2490E89}"/>
              </a:ext>
            </a:extLst>
          </p:cNvPr>
          <p:cNvGrpSpPr/>
          <p:nvPr userDrawn="1"/>
        </p:nvGrpSpPr>
        <p:grpSpPr>
          <a:xfrm>
            <a:off x="873883" y="2341625"/>
            <a:ext cx="2839915" cy="2174750"/>
            <a:chOff x="310166" y="5375508"/>
            <a:chExt cx="491206" cy="410670"/>
          </a:xfrm>
          <a:solidFill>
            <a:schemeClr val="bg1"/>
          </a:solidFill>
        </p:grpSpPr>
        <p:sp>
          <p:nvSpPr>
            <p:cNvPr id="4" name="Freeform 166">
              <a:extLst>
                <a:ext uri="{FF2B5EF4-FFF2-40B4-BE49-F238E27FC236}">
                  <a16:creationId xmlns:a16="http://schemas.microsoft.com/office/drawing/2014/main" id="{888FE86F-8894-4EA7-A86C-5B552906F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2" y="5375508"/>
              <a:ext cx="23812" cy="69850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5" name="Freeform 167">
              <a:extLst>
                <a:ext uri="{FF2B5EF4-FFF2-40B4-BE49-F238E27FC236}">
                  <a16:creationId xmlns:a16="http://schemas.microsoft.com/office/drawing/2014/main" id="{EE2EC14B-8A22-4353-ABAB-0571ACA5E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66" y="5551720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" name="Freeform 168">
              <a:extLst>
                <a:ext uri="{FF2B5EF4-FFF2-40B4-BE49-F238E27FC236}">
                  <a16:creationId xmlns:a16="http://schemas.microsoft.com/office/drawing/2014/main" id="{95E13893-5155-4BDC-B790-993416A56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2" y="5423133"/>
              <a:ext cx="55562" cy="55562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" name="Freeform 169">
              <a:extLst>
                <a:ext uri="{FF2B5EF4-FFF2-40B4-BE49-F238E27FC236}">
                  <a16:creationId xmlns:a16="http://schemas.microsoft.com/office/drawing/2014/main" id="{A41FE90B-7032-425B-AF82-2611149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2" y="5423134"/>
              <a:ext cx="55562" cy="55562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" name="Freeform 170">
              <a:extLst>
                <a:ext uri="{FF2B5EF4-FFF2-40B4-BE49-F238E27FC236}">
                  <a16:creationId xmlns:a16="http://schemas.microsoft.com/office/drawing/2014/main" id="{1930D321-B9AF-479C-B38D-1D602FA22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22" y="5551721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6B972CBD-3EFA-4C09-BFA9-1EF41A4F005B}"/>
                </a:ext>
              </a:extLst>
            </p:cNvPr>
            <p:cNvGrpSpPr/>
            <p:nvPr/>
          </p:nvGrpSpPr>
          <p:grpSpPr>
            <a:xfrm>
              <a:off x="432127" y="5519135"/>
              <a:ext cx="243823" cy="267043"/>
              <a:chOff x="-1358901" y="4653498"/>
              <a:chExt cx="400051" cy="438150"/>
            </a:xfrm>
            <a:grpFill/>
          </p:grpSpPr>
          <p:sp>
            <p:nvSpPr>
              <p:cNvPr id="10" name="Freeform 306">
                <a:extLst>
                  <a:ext uri="{FF2B5EF4-FFF2-40B4-BE49-F238E27FC236}">
                    <a16:creationId xmlns:a16="http://schemas.microsoft.com/office/drawing/2014/main" id="{A05AAB9F-45D8-4EDA-8C45-4296663DA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1" name="Freeform 307">
                <a:extLst>
                  <a:ext uri="{FF2B5EF4-FFF2-40B4-BE49-F238E27FC236}">
                    <a16:creationId xmlns:a16="http://schemas.microsoft.com/office/drawing/2014/main" id="{D7A607EC-8331-4374-9C9F-FB6FE7CF8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680" y="3319401"/>
            <a:ext cx="702012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7034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FA26E2-6AC9-4BFE-82F3-5B37293BE51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FD2B0766-60EA-44DA-B183-D7D8F0681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84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8227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Titelfolie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B10034"/>
              </a:solidFill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38">
            <a:extLst>
              <a:ext uri="{FF2B5EF4-FFF2-40B4-BE49-F238E27FC236}">
                <a16:creationId xmlns:a16="http://schemas.microsoft.com/office/drawing/2014/main" id="{8772F2C6-6216-40E2-961F-FE177F24D2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Untertitel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4803B6-1E5B-CE4E-A696-6675417BFBE3}"/>
              </a:ext>
            </a:extLst>
          </p:cNvPr>
          <p:cNvSpPr txBox="1"/>
          <p:nvPr userDrawn="1"/>
        </p:nvSpPr>
        <p:spPr>
          <a:xfrm>
            <a:off x="4533901" y="2879765"/>
            <a:ext cx="7086599" cy="24324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Project ABBA 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l">
              <a:buNone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86EA6AB-BE30-4118-A30A-9B995917C5BF}"/>
              </a:ext>
            </a:extLst>
          </p:cNvPr>
          <p:cNvSpPr txBox="1"/>
          <p:nvPr userDrawn="1"/>
        </p:nvSpPr>
        <p:spPr>
          <a:xfrm>
            <a:off x="4548554" y="543705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sz="120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</a:t>
            </a:r>
            <a:endParaRPr lang="de-DE" sz="1200">
              <a:solidFill>
                <a:schemeClr val="tx2"/>
              </a:solidFill>
            </a:endParaRPr>
          </a:p>
          <a:p>
            <a:pPr lvl="0"/>
            <a:r>
              <a:rPr lang="de-DE" sz="120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</a:t>
            </a:r>
            <a:endParaRPr lang="de-DE" sz="1200">
              <a:solidFill>
                <a:schemeClr val="tx2"/>
              </a:solidFill>
            </a:endParaRPr>
          </a:p>
          <a:p>
            <a:pPr marL="0" indent="0" algn="l">
              <a:buFont typeface="Wingdings" panose="05000000000000000000" pitchFamily="2" charset="2"/>
              <a:buNone/>
            </a:pPr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21" name="Grafik 20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D8810B87-4736-4543-A920-15DE7283C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FBF777-2D07-4643-A14C-B34B1D1098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C4E7A-D4D9-4E2F-9C54-CF93C4789B1B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20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FCEADE-0C88-4CDD-88DC-49AD90358BB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79050B90-98B6-4F1D-A364-D36A50F68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31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5100F-DFB2-41BB-884B-63208953B0CF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4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0" y="3498044"/>
            <a:ext cx="8171107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1934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7" name="Grafik 1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6779296-889C-43A8-B867-107FEBD68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3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0BEB5C5-7930-4FD9-802B-CFC2339A4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75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62800"/>
            <a:ext cx="1219200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0960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984500"/>
            <a:ext cx="6111628" cy="1689100"/>
          </a:xfrm>
          <a:prstGeom prst="rect">
            <a:avLst/>
          </a:prstGeom>
          <a:solidFill>
            <a:schemeClr val="tx2"/>
          </a:solidFill>
        </p:spPr>
        <p:txBody>
          <a:bodyPr wrap="square" lIns="144000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042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A9C45D68-AA89-436D-A8BC-30FB63CE55A7}" type="datetime1">
              <a:rPr lang="de-DE" smtClean="0"/>
              <a:t>14.02.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/>
              <a:t>ABBA | Vortragende*r 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B193B5-8CCF-478B-AC02-3C59BA49336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D57D7049-6EED-4A67-8684-DCF98D7C966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540CE6-88DA-4841-A94D-EA4FE05E6E9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AFB58F39-8DEC-4D44-B86F-164ACF9E793F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5D05D5-C785-4D1F-9705-D936D74257F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97" r:id="rId2"/>
    <p:sldLayoutId id="2147484052" r:id="rId3"/>
    <p:sldLayoutId id="2147483898" r:id="rId4"/>
    <p:sldLayoutId id="2147484053" r:id="rId5"/>
    <p:sldLayoutId id="2147483899" r:id="rId6"/>
    <p:sldLayoutId id="2147483900" r:id="rId7"/>
    <p:sldLayoutId id="2147484059" r:id="rId8"/>
    <p:sldLayoutId id="2147484060" r:id="rId9"/>
    <p:sldLayoutId id="2147484011" r:id="rId10"/>
    <p:sldLayoutId id="2147484012" r:id="rId11"/>
    <p:sldLayoutId id="2147484013" r:id="rId12"/>
    <p:sldLayoutId id="2147484016" r:id="rId13"/>
    <p:sldLayoutId id="2147484017" r:id="rId14"/>
    <p:sldLayoutId id="2147484018" r:id="rId15"/>
    <p:sldLayoutId id="2147484019" r:id="rId16"/>
    <p:sldLayoutId id="2147483912" r:id="rId17"/>
    <p:sldLayoutId id="2147483915" r:id="rId18"/>
    <p:sldLayoutId id="2147484058" r:id="rId19"/>
    <p:sldLayoutId id="2147484064" r:id="rId20"/>
  </p:sldLayoutIdLs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" Target="slide2.xml"/><Relationship Id="rId4" Type="http://schemas.openxmlformats.org/officeDocument/2006/relationships/tags" Target="../tags/tag5.xml"/><Relationship Id="rId9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slide" Target="slide2.xml"/><Relationship Id="rId4" Type="http://schemas.openxmlformats.org/officeDocument/2006/relationships/tags" Target="../tags/tag12.xml"/><Relationship Id="rId9" Type="http://schemas.openxmlformats.org/officeDocument/2006/relationships/slide" Target="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B71109-26E8-4072-A917-56DD8F8A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034" y="1398227"/>
            <a:ext cx="7090394" cy="776288"/>
          </a:xfrm>
        </p:spPr>
        <p:txBody>
          <a:bodyPr/>
          <a:lstStyle/>
          <a:p>
            <a:r>
              <a:rPr lang="de-DE" sz="2399" dirty="0" err="1"/>
              <a:t>FairDice</a:t>
            </a:r>
            <a:r>
              <a:rPr lang="de-DE" sz="2399" dirty="0"/>
              <a:t>: </a:t>
            </a:r>
            <a:r>
              <a:rPr lang="en-US" sz="2399" dirty="0"/>
              <a:t>An interactive lecture hall experiment to showcase the nuances of fairness</a:t>
            </a:r>
            <a:endParaRPr lang="de-DE" sz="2399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0F378F-E7F2-4B4A-B776-E8B71F204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Instruc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416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hlinkClick r:id="rId9" action="ppaction://hlinksldjump"/>
            <a:extLst>
              <a:ext uri="{FF2B5EF4-FFF2-40B4-BE49-F238E27FC236}">
                <a16:creationId xmlns:a16="http://schemas.microsoft.com/office/drawing/2014/main" id="{6B5F99BB-3D8C-AEAA-532E-4D6A91650B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80551" y="2283877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ages</a:t>
            </a:r>
          </a:p>
        </p:txBody>
      </p:sp>
      <p:sp>
        <p:nvSpPr>
          <p:cNvPr id="28" name="Oval 27">
            <a:hlinkClick r:id="rId9" action="ppaction://hlinksldjump"/>
            <a:extLst>
              <a:ext uri="{FF2B5EF4-FFF2-40B4-BE49-F238E27FC236}">
                <a16:creationId xmlns:a16="http://schemas.microsoft.com/office/drawing/2014/main" id="{FA1FCBAD-AF87-02EB-9FBE-38248CEFA2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4349" y="2283877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18736A-5251-C462-307D-EEF3DC5281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65700" y="1717675"/>
            <a:ext cx="10909566" cy="50270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6" name="Rectangle 25">
            <a:hlinkClick r:id="rId10" action="ppaction://hlinksldjump"/>
            <a:extLst>
              <a:ext uri="{FF2B5EF4-FFF2-40B4-BE49-F238E27FC236}">
                <a16:creationId xmlns:a16="http://schemas.microsoft.com/office/drawing/2014/main" id="{C906C199-FE31-A834-FC4D-B4EE6F87C2C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80551" y="1717675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cedure</a:t>
            </a:r>
          </a:p>
        </p:txBody>
      </p:sp>
      <p:sp>
        <p:nvSpPr>
          <p:cNvPr id="25" name="Oval 24">
            <a:hlinkClick r:id="rId10" action="ppaction://hlinksldjump"/>
            <a:extLst>
              <a:ext uri="{FF2B5EF4-FFF2-40B4-BE49-F238E27FC236}">
                <a16:creationId xmlns:a16="http://schemas.microsoft.com/office/drawing/2014/main" id="{AA10A930-0185-31E7-F06D-4BFEB04656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1717675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D6658A67-659C-FB49-254D-92A6987C222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6C08C3-8FEB-27DB-B29C-E83C9212F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768E0-88E4-AAFE-2A9D-BACB15887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2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8911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E3AE9-E5F2-5026-399A-DCC57CFFF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ced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cture</a:t>
            </a:r>
            <a:r>
              <a:rPr lang="de-DE" dirty="0"/>
              <a:t> hall </a:t>
            </a:r>
            <a:r>
              <a:rPr lang="de-DE" dirty="0" err="1"/>
              <a:t>experimen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60EB8-C3EB-EE51-AA3F-542085F35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777-FC28-45C3-BBC4-60EF6AB8C3D4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D2E53-92BC-9EA4-DD48-9A1E254F1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6760D0-3454-1BE5-505A-02C3FA3BDC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751387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AutoNum type="arabicPeriod"/>
            </a:pPr>
            <a:r>
              <a:rPr lang="en-US" sz="1100" b="1" dirty="0"/>
              <a:t>Explanation of the 4 quadrants</a:t>
            </a:r>
            <a:r>
              <a:rPr lang="en-US" sz="1100" dirty="0"/>
              <a:t>: What happens for decision rule 1-4 </a:t>
            </a:r>
            <a:r>
              <a:rPr lang="en-US" sz="1100" dirty="0">
                <a:sym typeface="Wingdings" panose="05000000000000000000" pitchFamily="2" charset="2"/>
              </a:rPr>
              <a:t> throw the dice to illustrate</a:t>
            </a:r>
            <a:endParaRPr lang="en-US" sz="1100" dirty="0"/>
          </a:p>
          <a:p>
            <a:pPr marL="342900" indent="-342900">
              <a:buFont typeface="Wingdings" panose="05000000000000000000" pitchFamily="2" charset="2"/>
              <a:buAutoNum type="arabicPeriod"/>
            </a:pPr>
            <a:r>
              <a:rPr lang="en-US" sz="1100" b="1" dirty="0"/>
              <a:t>Unknown scenario: </a:t>
            </a:r>
            <a:r>
              <a:rPr lang="en-US" sz="1100" dirty="0"/>
              <a:t>no stakes in the game, no knowledge about prize and group assignment</a:t>
            </a:r>
            <a:endParaRPr lang="en-US" sz="1100" b="1" dirty="0"/>
          </a:p>
          <a:p>
            <a:pPr lvl="1"/>
            <a:r>
              <a:rPr lang="en-US" sz="1100" dirty="0"/>
              <a:t>Fairness ranking 1: students vote about fairest and unfairest decision rules</a:t>
            </a:r>
            <a:endParaRPr lang="en-US" sz="1100" b="1" dirty="0"/>
          </a:p>
          <a:p>
            <a:pPr marL="342900" indent="-342900">
              <a:buAutoNum type="arabicPeriod"/>
            </a:pPr>
            <a:r>
              <a:rPr lang="en-US" sz="1100" b="1" dirty="0"/>
              <a:t>Low stakes</a:t>
            </a:r>
            <a:r>
              <a:rPr lang="en-US" sz="1100" dirty="0"/>
              <a:t>: we always “play the game” with the majority vote, each round a fixed set of sweets/drinks/… is shared among the winners</a:t>
            </a:r>
          </a:p>
          <a:p>
            <a:pPr marL="395605" lvl="1" indent="-185420"/>
            <a:r>
              <a:rPr lang="en-US" sz="1100" b="1" dirty="0"/>
              <a:t>Unknown group assignment (“veil of ignorance")</a:t>
            </a:r>
          </a:p>
          <a:p>
            <a:pPr marL="611605" lvl="2" indent="-185420"/>
            <a:r>
              <a:rPr lang="en-US" sz="1050" dirty="0"/>
              <a:t>"We’ll split you into groups, but we won't tell you how or which one you'll end up in.“ - exemplary assignments: place of birth (here/elsewhere), seats (right half/left half)</a:t>
            </a:r>
          </a:p>
          <a:p>
            <a:pPr lvl="2"/>
            <a:r>
              <a:rPr lang="en-US" sz="1050" dirty="0"/>
              <a:t>Fairness ranking 2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Assignment into groups (+ revelation), one representative of each group comes to the fore, rolls the respective die and collects the prize for the group</a:t>
            </a:r>
          </a:p>
          <a:p>
            <a:pPr marL="395505" lvl="1" indent="-185420"/>
            <a:r>
              <a:rPr lang="en-US" sz="1100" b="1" dirty="0"/>
              <a:t>Privileged group assignment (“unearned privilege”)</a:t>
            </a:r>
          </a:p>
          <a:p>
            <a:pPr marL="611605" lvl="2" indent="-185420"/>
            <a:r>
              <a:rPr lang="en-US" sz="1050" dirty="0"/>
              <a:t>"We’ll split you into arbitrary groups and tell you which one you'll end up in”. - exemplary assignments: strong hand (right/left), gender (male/female)</a:t>
            </a:r>
          </a:p>
          <a:p>
            <a:pPr lvl="2"/>
            <a:r>
              <a:rPr lang="en-US" sz="1050" dirty="0"/>
              <a:t>Fairness ranking 3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one representative of each group comes to the fore, rolls the respective die and collects the prize for the group </a:t>
            </a:r>
          </a:p>
          <a:p>
            <a:pPr marL="395505" lvl="1" indent="-185420"/>
            <a:r>
              <a:rPr lang="en-US" sz="1100" b="1" dirty="0"/>
              <a:t>Meritocratic</a:t>
            </a:r>
            <a:r>
              <a:rPr lang="en-US" sz="1100" dirty="0"/>
              <a:t> </a:t>
            </a:r>
            <a:r>
              <a:rPr lang="en-US" sz="1100" b="1" dirty="0"/>
              <a:t>group assignment (“earned advantage”)</a:t>
            </a:r>
          </a:p>
          <a:p>
            <a:pPr marL="611605" lvl="2" indent="-185420"/>
            <a:r>
              <a:rPr lang="en-US" sz="1050" dirty="0"/>
              <a:t>"We’ll split you into groups based on your knowledge, and assign the more knowledgeable to the privileged group.“ - exemplary assignments: stochastic math task</a:t>
            </a:r>
          </a:p>
          <a:p>
            <a:pPr lvl="2"/>
            <a:r>
              <a:rPr lang="en-US" sz="1050" dirty="0"/>
              <a:t>Fairness ranking 4: students vote about the fairest decision rules</a:t>
            </a:r>
            <a:endParaRPr lang="en-US" sz="1050" b="1" dirty="0"/>
          </a:p>
          <a:p>
            <a:pPr marL="611505" lvl="2" indent="-185420"/>
            <a:r>
              <a:rPr lang="en-US" sz="1050" dirty="0"/>
              <a:t>one representative of each group comes to the fore, rolls the respective die and collects the prize for the group</a:t>
            </a:r>
          </a:p>
          <a:p>
            <a:pPr marL="342900" marR="0" lvl="0" indent="-342900" algn="l" defTabSz="7429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AutoNum type="arabicPeriod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 stak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hypothetical high-stakes decision about life or death, no game played</a:t>
            </a:r>
          </a:p>
          <a:p>
            <a:pPr lvl="1">
              <a:defRPr/>
            </a:pPr>
            <a:r>
              <a:rPr lang="en-US" sz="1100" dirty="0"/>
              <a:t>“Only one group has access to an antidote. If it is shared, it loses effects proportionally.” – same assignment as in fairness ranking 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96000" marR="0" lvl="1" indent="-185738" algn="l" defTabSz="7429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−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airness ranking 5: students vote about fairest and unfairest decision rules to allocate the antido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85243" indent="-185420"/>
            <a:endParaRPr lang="en-US" sz="125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0B2FF7B-E0FD-C50F-606F-FCACE0396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Forschungsinstitut für Informationsmanagement | Universität Bayreuth | Luca Deck, Valentin May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149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E3AE9-E5F2-5026-399A-DCC57CFFF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cture</a:t>
            </a:r>
            <a:r>
              <a:rPr lang="de-DE" dirty="0"/>
              <a:t> hall </a:t>
            </a:r>
            <a:r>
              <a:rPr lang="de-DE" dirty="0" err="1"/>
              <a:t>experimen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60EB8-C3EB-EE51-AA3F-542085F35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777-FC28-45C3-BBC4-60EF6AB8C3D4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D2E53-92BC-9EA4-DD48-9A1E254F1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B6760D0-3454-1BE5-505A-02C3FA3BD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100" dirty="0"/>
              <a:t>Look at the results together: What trends can we observe? Can we come to a consensus?</a:t>
            </a:r>
          </a:p>
          <a:p>
            <a:r>
              <a:rPr lang="en-US" sz="1100" dirty="0"/>
              <a:t>Open questions to the audience: What changes across the scenarios? Why do the changes occur?</a:t>
            </a:r>
          </a:p>
          <a:p>
            <a:r>
              <a:rPr lang="en-US" sz="1100" dirty="0"/>
              <a:t>Closed question: Do participants vote for fairness or for self-interest?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596B19-3D8D-3BFA-3264-C964F63A88D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0B2FF7B-E0FD-C50F-606F-FCACE0396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Forschungsinstitut für Informationsmanagement | Universität Bayreuth | Luca Deck, Valentin May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568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8B1E382-F72B-618A-112C-A6E92662BE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5700" y="2283877"/>
            <a:ext cx="10909566" cy="50270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8" name="Rectangle 27">
            <a:hlinkClick r:id="rId9" action="ppaction://hlinksldjump"/>
            <a:extLst>
              <a:ext uri="{FF2B5EF4-FFF2-40B4-BE49-F238E27FC236}">
                <a16:creationId xmlns:a16="http://schemas.microsoft.com/office/drawing/2014/main" id="{E0FF902B-FEEF-A4BF-A337-70D7281742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80551" y="2283877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ages</a:t>
            </a:r>
          </a:p>
        </p:txBody>
      </p:sp>
      <p:sp>
        <p:nvSpPr>
          <p:cNvPr id="27" name="Oval 26">
            <a:hlinkClick r:id="rId9" action="ppaction://hlinksldjump"/>
            <a:extLst>
              <a:ext uri="{FF2B5EF4-FFF2-40B4-BE49-F238E27FC236}">
                <a16:creationId xmlns:a16="http://schemas.microsoft.com/office/drawing/2014/main" id="{D234D9C3-5C80-91FB-DA48-9CFAD6A747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2283877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Rectangle 25">
            <a:hlinkClick r:id="rId10" action="ppaction://hlinksldjump"/>
            <a:extLst>
              <a:ext uri="{FF2B5EF4-FFF2-40B4-BE49-F238E27FC236}">
                <a16:creationId xmlns:a16="http://schemas.microsoft.com/office/drawing/2014/main" id="{9D79F32C-E892-4DF5-9CEC-5C1850BC43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80551" y="1717675"/>
            <a:ext cx="107240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0" bIns="1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cedure</a:t>
            </a:r>
          </a:p>
        </p:txBody>
      </p:sp>
      <p:sp>
        <p:nvSpPr>
          <p:cNvPr id="25" name="Oval 24">
            <a:hlinkClick r:id="rId10" action="ppaction://hlinksldjump"/>
            <a:extLst>
              <a:ext uri="{FF2B5EF4-FFF2-40B4-BE49-F238E27FC236}">
                <a16:creationId xmlns:a16="http://schemas.microsoft.com/office/drawing/2014/main" id="{56075D48-141B-80DC-C266-C7E85526B99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1717675"/>
            <a:ext cx="502702" cy="502702"/>
          </a:xfrm>
          <a:prstGeom prst="ellipse">
            <a:avLst/>
          </a:prstGeom>
          <a:solidFill>
            <a:schemeClr val="accent1"/>
          </a:solidFill>
          <a:ln w="508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127000" rIns="76200" bIns="1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A9CA8D41-B9BF-E974-CFEE-8CAA95964C3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3E87DF-46AD-FFB6-D2CE-A5C6B7F32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6F6732-CBD6-C863-1B85-E5C8941FE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5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386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CECF2-E2B2-EB09-5993-2D045279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imple game about fairnes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2DE277-8DEF-93B8-02E5-F0D38E54B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9C94B-F43D-9EF9-AED9-24AD463A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FA2D2682-8AB4-3E1E-3C37-F1282A4FCBAE}"/>
              </a:ext>
            </a:extLst>
          </p:cNvPr>
          <p:cNvSpPr txBox="1"/>
          <p:nvPr/>
        </p:nvSpPr>
        <p:spPr>
          <a:xfrm>
            <a:off x="5999811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, 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t we flip their die to si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631" name="TextBox 630">
            <a:extLst>
              <a:ext uri="{FF2B5EF4-FFF2-40B4-BE49-F238E27FC236}">
                <a16:creationId xmlns:a16="http://schemas.microsoft.com/office/drawing/2014/main" id="{2242C9AB-A188-CCBD-3B13-ABEE83EB881F}"/>
              </a:ext>
            </a:extLst>
          </p:cNvPr>
          <p:cNvSpPr txBox="1"/>
          <p:nvPr/>
        </p:nvSpPr>
        <p:spPr>
          <a:xfrm>
            <a:off x="599981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.</a:t>
            </a:r>
          </a:p>
        </p:txBody>
      </p:sp>
      <p:cxnSp>
        <p:nvCxnSpPr>
          <p:cNvPr id="632" name="Straight Connector 631">
            <a:extLst>
              <a:ext uri="{FF2B5EF4-FFF2-40B4-BE49-F238E27FC236}">
                <a16:creationId xmlns:a16="http://schemas.microsoft.com/office/drawing/2014/main" id="{6F1D456E-EC8D-9BE6-29FC-B4C0A02BA969}"/>
              </a:ext>
            </a:extLst>
          </p:cNvPr>
          <p:cNvCxnSpPr>
            <a:cxnSpLocks/>
          </p:cNvCxnSpPr>
          <p:nvPr/>
        </p:nvCxnSpPr>
        <p:spPr>
          <a:xfrm flipH="1">
            <a:off x="7073186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633" name="TextBox 632">
            <a:extLst>
              <a:ext uri="{FF2B5EF4-FFF2-40B4-BE49-F238E27FC236}">
                <a16:creationId xmlns:a16="http://schemas.microsoft.com/office/drawing/2014/main" id="{8A164644-EAAA-BE4E-6E61-661DF84D028C}"/>
              </a:ext>
            </a:extLst>
          </p:cNvPr>
          <p:cNvSpPr txBox="1"/>
          <p:nvPr/>
        </p:nvSpPr>
        <p:spPr>
          <a:xfrm>
            <a:off x="889618" y="3213318"/>
            <a:ext cx="2596825" cy="2156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ules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1AF3DD1B-1130-3EFC-533A-877F669BB688}"/>
              </a:ext>
            </a:extLst>
          </p:cNvPr>
          <p:cNvSpPr txBox="1"/>
          <p:nvPr/>
        </p:nvSpPr>
        <p:spPr>
          <a:xfrm>
            <a:off x="522900" y="3466077"/>
            <a:ext cx="3330263" cy="470303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Trebuchet M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</a:rPr>
              <a:t>Roll onc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</a:rPr>
              <a:t>Highest number wins.</a:t>
            </a:r>
          </a:p>
        </p:txBody>
      </p:sp>
      <p:sp>
        <p:nvSpPr>
          <p:cNvPr id="635" name="Textfeld 16">
            <a:extLst>
              <a:ext uri="{FF2B5EF4-FFF2-40B4-BE49-F238E27FC236}">
                <a16:creationId xmlns:a16="http://schemas.microsoft.com/office/drawing/2014/main" id="{7DCDD93A-5A7E-E522-7BB6-A4A617472DB9}"/>
              </a:ext>
            </a:extLst>
          </p:cNvPr>
          <p:cNvSpPr txBox="1"/>
          <p:nvPr/>
        </p:nvSpPr>
        <p:spPr>
          <a:xfrm>
            <a:off x="4015813" y="5704460"/>
            <a:ext cx="44940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636" name="Textfeld 18">
            <a:extLst>
              <a:ext uri="{FF2B5EF4-FFF2-40B4-BE49-F238E27FC236}">
                <a16:creationId xmlns:a16="http://schemas.microsoft.com/office/drawing/2014/main" id="{C075A05B-4413-40FB-8CCB-D2DCFE5017B7}"/>
              </a:ext>
            </a:extLst>
          </p:cNvPr>
          <p:cNvSpPr txBox="1"/>
          <p:nvPr/>
        </p:nvSpPr>
        <p:spPr>
          <a:xfrm>
            <a:off x="7383707" y="5704459"/>
            <a:ext cx="61612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637" name="Textfeld 17">
            <a:extLst>
              <a:ext uri="{FF2B5EF4-FFF2-40B4-BE49-F238E27FC236}">
                <a16:creationId xmlns:a16="http://schemas.microsoft.com/office/drawing/2014/main" id="{12769113-D328-F7BC-ABB1-591A40DB976E}"/>
              </a:ext>
            </a:extLst>
          </p:cNvPr>
          <p:cNvSpPr txBox="1"/>
          <p:nvPr/>
        </p:nvSpPr>
        <p:spPr>
          <a:xfrm>
            <a:off x="3200588" y="1983111"/>
            <a:ext cx="652472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638" name="Textfeld 19">
            <a:extLst>
              <a:ext uri="{FF2B5EF4-FFF2-40B4-BE49-F238E27FC236}">
                <a16:creationId xmlns:a16="http://schemas.microsoft.com/office/drawing/2014/main" id="{294FB1DF-9B0E-2B6E-C915-432E529429D3}"/>
              </a:ext>
            </a:extLst>
          </p:cNvPr>
          <p:cNvSpPr txBox="1"/>
          <p:nvPr/>
        </p:nvSpPr>
        <p:spPr>
          <a:xfrm>
            <a:off x="3367301" y="5324397"/>
            <a:ext cx="485761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639" name="Textfeld 9">
            <a:extLst>
              <a:ext uri="{FF2B5EF4-FFF2-40B4-BE49-F238E27FC236}">
                <a16:creationId xmlns:a16="http://schemas.microsoft.com/office/drawing/2014/main" id="{B4D2ED90-533A-1A91-848D-0A62F106C20B}"/>
              </a:ext>
            </a:extLst>
          </p:cNvPr>
          <p:cNvSpPr txBox="1"/>
          <p:nvPr/>
        </p:nvSpPr>
        <p:spPr>
          <a:xfrm rot="16200000">
            <a:off x="2375895" y="3641527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>
            <a:defPPr>
              <a:defRPr lang="en-US"/>
            </a:defPPr>
            <a:lvl1pPr algn="ctr">
              <a:defRPr sz="1400" b="1">
                <a:latin typeface="Trebuchet MS" panose="020B0603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rPr>
              <a:t>Outcome</a:t>
            </a:r>
          </a:p>
        </p:txBody>
      </p:sp>
      <p:sp>
        <p:nvSpPr>
          <p:cNvPr id="640" name="Textfeld 10">
            <a:extLst>
              <a:ext uri="{FF2B5EF4-FFF2-40B4-BE49-F238E27FC236}">
                <a16:creationId xmlns:a16="http://schemas.microsoft.com/office/drawing/2014/main" id="{FE809978-5248-C07B-7F3A-418520BAC7B2}"/>
              </a:ext>
            </a:extLst>
          </p:cNvPr>
          <p:cNvSpPr txBox="1"/>
          <p:nvPr/>
        </p:nvSpPr>
        <p:spPr>
          <a:xfrm>
            <a:off x="4723363" y="5689071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cess</a:t>
            </a:r>
          </a:p>
        </p:txBody>
      </p:sp>
      <p:pic>
        <p:nvPicPr>
          <p:cNvPr id="641" name="Graphic 640" descr="Badge 3 with solid fill">
            <a:extLst>
              <a:ext uri="{FF2B5EF4-FFF2-40B4-BE49-F238E27FC236}">
                <a16:creationId xmlns:a16="http://schemas.microsoft.com/office/drawing/2014/main" id="{80E3ACB7-3156-5276-1164-6FD520565F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6292" y="4272516"/>
            <a:ext cx="826169" cy="826169"/>
          </a:xfrm>
          <a:prstGeom prst="rect">
            <a:avLst/>
          </a:prstGeom>
        </p:spPr>
      </p:pic>
      <p:pic>
        <p:nvPicPr>
          <p:cNvPr id="642" name="Graphic 641" descr="Badge 1 with solid fill">
            <a:extLst>
              <a:ext uri="{FF2B5EF4-FFF2-40B4-BE49-F238E27FC236}">
                <a16:creationId xmlns:a16="http://schemas.microsoft.com/office/drawing/2014/main" id="{EC88E516-EFD9-6845-F7D6-7AE3CD729B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6893" y="4272516"/>
            <a:ext cx="826169" cy="826169"/>
          </a:xfrm>
          <a:prstGeom prst="rect">
            <a:avLst/>
          </a:prstGeom>
        </p:spPr>
      </p:pic>
      <p:pic>
        <p:nvPicPr>
          <p:cNvPr id="643" name="Graphic 642" descr="Badge 4 with solid fill">
            <a:extLst>
              <a:ext uri="{FF2B5EF4-FFF2-40B4-BE49-F238E27FC236}">
                <a16:creationId xmlns:a16="http://schemas.microsoft.com/office/drawing/2014/main" id="{81439B9F-44BB-C0E6-18A2-D2B8296B37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6292" y="2472517"/>
            <a:ext cx="826169" cy="826169"/>
          </a:xfrm>
          <a:prstGeom prst="rect">
            <a:avLst/>
          </a:prstGeom>
        </p:spPr>
      </p:pic>
      <p:sp>
        <p:nvSpPr>
          <p:cNvPr id="644" name="TextBox 643">
            <a:extLst>
              <a:ext uri="{FF2B5EF4-FFF2-40B4-BE49-F238E27FC236}">
                <a16:creationId xmlns:a16="http://schemas.microsoft.com/office/drawing/2014/main" id="{366A7765-37DA-5EC3-0382-EC01574907FA}"/>
              </a:ext>
            </a:extLst>
          </p:cNvPr>
          <p:cNvSpPr txBox="1"/>
          <p:nvPr/>
        </p:nvSpPr>
        <p:spPr>
          <a:xfrm>
            <a:off x="385306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regular die.</a:t>
            </a:r>
          </a:p>
        </p:txBody>
      </p:sp>
      <p:pic>
        <p:nvPicPr>
          <p:cNvPr id="645" name="Graphic 644" descr="Badge with solid fill">
            <a:extLst>
              <a:ext uri="{FF2B5EF4-FFF2-40B4-BE49-F238E27FC236}">
                <a16:creationId xmlns:a16="http://schemas.microsoft.com/office/drawing/2014/main" id="{DA14EA34-E943-4696-058D-AF41475C32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26893" y="2472517"/>
            <a:ext cx="826169" cy="826169"/>
          </a:xfrm>
          <a:prstGeom prst="rect">
            <a:avLst/>
          </a:prstGeom>
        </p:spPr>
      </p:pic>
      <p:sp>
        <p:nvSpPr>
          <p:cNvPr id="646" name="TextBox 645">
            <a:extLst>
              <a:ext uri="{FF2B5EF4-FFF2-40B4-BE49-F238E27FC236}">
                <a16:creationId xmlns:a16="http://schemas.microsoft.com/office/drawing/2014/main" id="{CE758945-6AAC-4406-E026-E9077E51A8E1}"/>
              </a:ext>
            </a:extLst>
          </p:cNvPr>
          <p:cNvSpPr txBox="1"/>
          <p:nvPr/>
        </p:nvSpPr>
        <p:spPr>
          <a:xfrm>
            <a:off x="8381724" y="3681666"/>
            <a:ext cx="3117968" cy="2905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tributed among winners.</a:t>
            </a:r>
          </a:p>
        </p:txBody>
      </p:sp>
      <p:sp>
        <p:nvSpPr>
          <p:cNvPr id="647" name="TextBox 646">
            <a:extLst>
              <a:ext uri="{FF2B5EF4-FFF2-40B4-BE49-F238E27FC236}">
                <a16:creationId xmlns:a16="http://schemas.microsoft.com/office/drawing/2014/main" id="{71E76CE8-8377-7085-6633-320504204C17}"/>
              </a:ext>
            </a:extLst>
          </p:cNvPr>
          <p:cNvSpPr txBox="1"/>
          <p:nvPr/>
        </p:nvSpPr>
        <p:spPr>
          <a:xfrm>
            <a:off x="8381724" y="3213317"/>
            <a:ext cx="31179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ize</a:t>
            </a:r>
          </a:p>
        </p:txBody>
      </p:sp>
      <p:sp>
        <p:nvSpPr>
          <p:cNvPr id="648" name="TextBox 647">
            <a:extLst>
              <a:ext uri="{FF2B5EF4-FFF2-40B4-BE49-F238E27FC236}">
                <a16:creationId xmlns:a16="http://schemas.microsoft.com/office/drawing/2014/main" id="{81BE53D9-02F4-DE5D-7395-C07F14F613BC}"/>
              </a:ext>
            </a:extLst>
          </p:cNvPr>
          <p:cNvSpPr txBox="1"/>
          <p:nvPr/>
        </p:nvSpPr>
        <p:spPr>
          <a:xfrm>
            <a:off x="8381724" y="3474375"/>
            <a:ext cx="3117968" cy="2068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??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AC930C16-6EE2-D9FF-5046-747363CB0C27}"/>
              </a:ext>
            </a:extLst>
          </p:cNvPr>
          <p:cNvCxnSpPr>
            <a:cxnSpLocks/>
          </p:cNvCxnSpPr>
          <p:nvPr/>
        </p:nvCxnSpPr>
        <p:spPr>
          <a:xfrm flipH="1">
            <a:off x="4926435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650" name="Group 649">
            <a:extLst>
              <a:ext uri="{FF2B5EF4-FFF2-40B4-BE49-F238E27FC236}">
                <a16:creationId xmlns:a16="http://schemas.microsoft.com/office/drawing/2014/main" id="{CD560EFC-2605-29C1-4E01-0EBEF7536045}"/>
              </a:ext>
            </a:extLst>
          </p:cNvPr>
          <p:cNvGrpSpPr/>
          <p:nvPr/>
        </p:nvGrpSpPr>
        <p:grpSpPr>
          <a:xfrm>
            <a:off x="5059074" y="2587773"/>
            <a:ext cx="786502" cy="724797"/>
            <a:chOff x="2011006" y="2151325"/>
            <a:chExt cx="786502" cy="724797"/>
          </a:xfrm>
        </p:grpSpPr>
        <p:sp>
          <p:nvSpPr>
            <p:cNvPr id="651" name="Cube 650">
              <a:extLst>
                <a:ext uri="{FF2B5EF4-FFF2-40B4-BE49-F238E27FC236}">
                  <a16:creationId xmlns:a16="http://schemas.microsoft.com/office/drawing/2014/main" id="{3F8940FC-A9D7-527A-7FB6-127602D07483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52" name="Group 651">
              <a:extLst>
                <a:ext uri="{FF2B5EF4-FFF2-40B4-BE49-F238E27FC236}">
                  <a16:creationId xmlns:a16="http://schemas.microsoft.com/office/drawing/2014/main" id="{1FC8C893-F515-DCDD-14BB-6690D7E655DA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2DFF9202-6143-15C0-2D41-2AE5412C639A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30867751-E6D1-2AA6-E5C0-7F7156147500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66" name="Oval 665">
                <a:extLst>
                  <a:ext uri="{FF2B5EF4-FFF2-40B4-BE49-F238E27FC236}">
                    <a16:creationId xmlns:a16="http://schemas.microsoft.com/office/drawing/2014/main" id="{373931C9-1085-E97E-9913-0DBB46A1180A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52E94765-80FC-486F-18EE-CAFB59B1ABFB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56" name="Group 655">
                <a:extLst>
                  <a:ext uri="{FF2B5EF4-FFF2-40B4-BE49-F238E27FC236}">
                    <a16:creationId xmlns:a16="http://schemas.microsoft.com/office/drawing/2014/main" id="{AD4621C6-5346-6062-8A9B-51A9BDEA243F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61" name="Oval 660">
                  <a:extLst>
                    <a:ext uri="{FF2B5EF4-FFF2-40B4-BE49-F238E27FC236}">
                      <a16:creationId xmlns:a16="http://schemas.microsoft.com/office/drawing/2014/main" id="{F5BEBABE-B382-094D-1DA1-7474D076B587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Oval 661">
                  <a:extLst>
                    <a:ext uri="{FF2B5EF4-FFF2-40B4-BE49-F238E27FC236}">
                      <a16:creationId xmlns:a16="http://schemas.microsoft.com/office/drawing/2014/main" id="{090ED7DD-E88F-EB63-4BE8-750702A45BE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Oval 662">
                  <a:extLst>
                    <a:ext uri="{FF2B5EF4-FFF2-40B4-BE49-F238E27FC236}">
                      <a16:creationId xmlns:a16="http://schemas.microsoft.com/office/drawing/2014/main" id="{A1D61051-AC77-ECAF-6ED4-199ABEFF7641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57" name="Group 656">
                <a:extLst>
                  <a:ext uri="{FF2B5EF4-FFF2-40B4-BE49-F238E27FC236}">
                    <a16:creationId xmlns:a16="http://schemas.microsoft.com/office/drawing/2014/main" id="{A733B005-4161-97EE-ECA2-5D8AC1D200D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58" name="Oval 657">
                  <a:extLst>
                    <a:ext uri="{FF2B5EF4-FFF2-40B4-BE49-F238E27FC236}">
                      <a16:creationId xmlns:a16="http://schemas.microsoft.com/office/drawing/2014/main" id="{C6E6FCA9-A892-A87E-4744-46EF1151ECD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Oval 658">
                  <a:extLst>
                    <a:ext uri="{FF2B5EF4-FFF2-40B4-BE49-F238E27FC236}">
                      <a16:creationId xmlns:a16="http://schemas.microsoft.com/office/drawing/2014/main" id="{64D657F3-A650-4EE3-43C4-CE37EA051A2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Oval 659">
                  <a:extLst>
                    <a:ext uri="{FF2B5EF4-FFF2-40B4-BE49-F238E27FC236}">
                      <a16:creationId xmlns:a16="http://schemas.microsoft.com/office/drawing/2014/main" id="{D82B01FC-F7D7-340B-168A-2E4D32A5FFF8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01D23050-48CE-F589-DCE0-B4F8D939156C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AE75CA4C-3AB0-C8C3-5EEF-D3870BECA570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667" name="Group 666">
            <a:extLst>
              <a:ext uri="{FF2B5EF4-FFF2-40B4-BE49-F238E27FC236}">
                <a16:creationId xmlns:a16="http://schemas.microsoft.com/office/drawing/2014/main" id="{E69D5043-9481-6954-8913-C8EEC274EB6A}"/>
              </a:ext>
            </a:extLst>
          </p:cNvPr>
          <p:cNvGrpSpPr/>
          <p:nvPr/>
        </p:nvGrpSpPr>
        <p:grpSpPr>
          <a:xfrm>
            <a:off x="4045418" y="2587773"/>
            <a:ext cx="786502" cy="724797"/>
            <a:chOff x="2011006" y="2151325"/>
            <a:chExt cx="786502" cy="724797"/>
          </a:xfrm>
        </p:grpSpPr>
        <p:sp>
          <p:nvSpPr>
            <p:cNvPr id="668" name="Cube 667">
              <a:extLst>
                <a:ext uri="{FF2B5EF4-FFF2-40B4-BE49-F238E27FC236}">
                  <a16:creationId xmlns:a16="http://schemas.microsoft.com/office/drawing/2014/main" id="{1D6747AF-3F2D-FEF7-A9B8-76DCAA0656FF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C7C79F4E-9625-B11A-7BD8-8DD8598B546C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681" name="Oval 680">
                <a:extLst>
                  <a:ext uri="{FF2B5EF4-FFF2-40B4-BE49-F238E27FC236}">
                    <a16:creationId xmlns:a16="http://schemas.microsoft.com/office/drawing/2014/main" id="{49DC9498-33BF-32CB-1AAE-DF48E2FBAEC1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10893956-1602-6A29-390A-1D315A83F136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F27BAED5-A615-ABE7-366F-C7CDE5DFBA68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1DE8E7FB-624A-7934-E8E9-7738C1DCE0F1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88A3FCA1-D79C-9434-75F0-D03831E4788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78" name="Oval 677">
                  <a:extLst>
                    <a:ext uri="{FF2B5EF4-FFF2-40B4-BE49-F238E27FC236}">
                      <a16:creationId xmlns:a16="http://schemas.microsoft.com/office/drawing/2014/main" id="{8CE0C7E9-9E05-CCE7-CE7E-918AF6676068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Oval 678">
                  <a:extLst>
                    <a:ext uri="{FF2B5EF4-FFF2-40B4-BE49-F238E27FC236}">
                      <a16:creationId xmlns:a16="http://schemas.microsoft.com/office/drawing/2014/main" id="{1CC7DC2B-CF3B-4109-E68C-E3CF9B63318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Oval 679">
                  <a:extLst>
                    <a:ext uri="{FF2B5EF4-FFF2-40B4-BE49-F238E27FC236}">
                      <a16:creationId xmlns:a16="http://schemas.microsoft.com/office/drawing/2014/main" id="{8152AABA-7B44-C0FF-DA4E-669DCDBB320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74" name="Group 673">
                <a:extLst>
                  <a:ext uri="{FF2B5EF4-FFF2-40B4-BE49-F238E27FC236}">
                    <a16:creationId xmlns:a16="http://schemas.microsoft.com/office/drawing/2014/main" id="{97D70E9E-BD55-3A25-F533-3AFC013DEB6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75" name="Oval 674">
                  <a:extLst>
                    <a:ext uri="{FF2B5EF4-FFF2-40B4-BE49-F238E27FC236}">
                      <a16:creationId xmlns:a16="http://schemas.microsoft.com/office/drawing/2014/main" id="{EF15896B-186A-B424-D51B-16DAA8BF938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Oval 675">
                  <a:extLst>
                    <a:ext uri="{FF2B5EF4-FFF2-40B4-BE49-F238E27FC236}">
                      <a16:creationId xmlns:a16="http://schemas.microsoft.com/office/drawing/2014/main" id="{7D7BADEA-4D6B-AC5E-7ACF-F41DD035E1D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Oval 676">
                  <a:extLst>
                    <a:ext uri="{FF2B5EF4-FFF2-40B4-BE49-F238E27FC236}">
                      <a16:creationId xmlns:a16="http://schemas.microsoft.com/office/drawing/2014/main" id="{1FD2AE7A-A118-DDFA-82D5-76E8533F8CD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D35A014-F9DA-02BD-E032-B7FE2FCB0828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DB68581F-BD7B-F089-9A0C-7D05694DAECA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684" name="Group 683">
            <a:extLst>
              <a:ext uri="{FF2B5EF4-FFF2-40B4-BE49-F238E27FC236}">
                <a16:creationId xmlns:a16="http://schemas.microsoft.com/office/drawing/2014/main" id="{5436462B-6E7F-6A34-59F2-6FB4481D8A3A}"/>
              </a:ext>
            </a:extLst>
          </p:cNvPr>
          <p:cNvGrpSpPr/>
          <p:nvPr/>
        </p:nvGrpSpPr>
        <p:grpSpPr>
          <a:xfrm>
            <a:off x="5060975" y="4450673"/>
            <a:ext cx="786502" cy="834482"/>
            <a:chOff x="1087852" y="2046694"/>
            <a:chExt cx="786502" cy="834482"/>
          </a:xfrm>
        </p:grpSpPr>
        <p:sp>
          <p:nvSpPr>
            <p:cNvPr id="685" name="Cube 684">
              <a:extLst>
                <a:ext uri="{FF2B5EF4-FFF2-40B4-BE49-F238E27FC236}">
                  <a16:creationId xmlns:a16="http://schemas.microsoft.com/office/drawing/2014/main" id="{A2B48CE9-7288-380E-0FFB-7826A3CE7B0A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686" name="Group 685">
              <a:extLst>
                <a:ext uri="{FF2B5EF4-FFF2-40B4-BE49-F238E27FC236}">
                  <a16:creationId xmlns:a16="http://schemas.microsoft.com/office/drawing/2014/main" id="{96DA03B6-90DD-10EB-64A7-E502E2F636C9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05" name="Group 704">
                <a:extLst>
                  <a:ext uri="{FF2B5EF4-FFF2-40B4-BE49-F238E27FC236}">
                    <a16:creationId xmlns:a16="http://schemas.microsoft.com/office/drawing/2014/main" id="{EE0F0182-4D9F-2346-D641-A67C30584E5A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10" name="Oval 709">
                  <a:extLst>
                    <a:ext uri="{FF2B5EF4-FFF2-40B4-BE49-F238E27FC236}">
                      <a16:creationId xmlns:a16="http://schemas.microsoft.com/office/drawing/2014/main" id="{A4AF97BA-CBB6-24B2-AAD8-E69B3BF6C3E7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Oval 710">
                  <a:extLst>
                    <a:ext uri="{FF2B5EF4-FFF2-40B4-BE49-F238E27FC236}">
                      <a16:creationId xmlns:a16="http://schemas.microsoft.com/office/drawing/2014/main" id="{29BF2BC9-8CE5-B54F-D76D-B8CB1A297D0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Oval 711">
                  <a:extLst>
                    <a:ext uri="{FF2B5EF4-FFF2-40B4-BE49-F238E27FC236}">
                      <a16:creationId xmlns:a16="http://schemas.microsoft.com/office/drawing/2014/main" id="{38D7B9AD-97DC-DF76-8B92-B7D4B2C4121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06" name="Group 705">
                <a:extLst>
                  <a:ext uri="{FF2B5EF4-FFF2-40B4-BE49-F238E27FC236}">
                    <a16:creationId xmlns:a16="http://schemas.microsoft.com/office/drawing/2014/main" id="{E139C170-7281-C580-A7EE-3985FB1ACA4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07" name="Oval 706">
                  <a:extLst>
                    <a:ext uri="{FF2B5EF4-FFF2-40B4-BE49-F238E27FC236}">
                      <a16:creationId xmlns:a16="http://schemas.microsoft.com/office/drawing/2014/main" id="{48B48587-9987-D98A-AB6D-B6D8B12B8B6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Oval 707">
                  <a:extLst>
                    <a:ext uri="{FF2B5EF4-FFF2-40B4-BE49-F238E27FC236}">
                      <a16:creationId xmlns:a16="http://schemas.microsoft.com/office/drawing/2014/main" id="{88A132B8-4BCC-12D3-74A2-8A0B010C194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Oval 708">
                  <a:extLst>
                    <a:ext uri="{FF2B5EF4-FFF2-40B4-BE49-F238E27FC236}">
                      <a16:creationId xmlns:a16="http://schemas.microsoft.com/office/drawing/2014/main" id="{25BF4CD7-DDB3-2DF3-FC5A-3B2E9AD00159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87" name="Group 686">
              <a:extLst>
                <a:ext uri="{FF2B5EF4-FFF2-40B4-BE49-F238E27FC236}">
                  <a16:creationId xmlns:a16="http://schemas.microsoft.com/office/drawing/2014/main" id="{916B29AE-5E05-239A-297A-63FD553536F1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697" name="Group 696">
                <a:extLst>
                  <a:ext uri="{FF2B5EF4-FFF2-40B4-BE49-F238E27FC236}">
                    <a16:creationId xmlns:a16="http://schemas.microsoft.com/office/drawing/2014/main" id="{300E804A-AFE4-8C87-E08A-4CA5804C7D0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02" name="Oval 701">
                  <a:extLst>
                    <a:ext uri="{FF2B5EF4-FFF2-40B4-BE49-F238E27FC236}">
                      <a16:creationId xmlns:a16="http://schemas.microsoft.com/office/drawing/2014/main" id="{C54FF5D5-1A0B-747D-68BE-C8D5E93E2DD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Oval 702">
                  <a:extLst>
                    <a:ext uri="{FF2B5EF4-FFF2-40B4-BE49-F238E27FC236}">
                      <a16:creationId xmlns:a16="http://schemas.microsoft.com/office/drawing/2014/main" id="{FF644D68-9B46-2954-A24F-C5A44FD1DF7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Oval 703">
                  <a:extLst>
                    <a:ext uri="{FF2B5EF4-FFF2-40B4-BE49-F238E27FC236}">
                      <a16:creationId xmlns:a16="http://schemas.microsoft.com/office/drawing/2014/main" id="{8D8440C6-9B42-A712-16D3-26B7953111AE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8" name="Group 697">
                <a:extLst>
                  <a:ext uri="{FF2B5EF4-FFF2-40B4-BE49-F238E27FC236}">
                    <a16:creationId xmlns:a16="http://schemas.microsoft.com/office/drawing/2014/main" id="{161EDB81-C9AF-BF5C-83E4-4A8D56BF557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87AC4F47-EA83-9933-4870-61F05868259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Oval 699">
                  <a:extLst>
                    <a:ext uri="{FF2B5EF4-FFF2-40B4-BE49-F238E27FC236}">
                      <a16:creationId xmlns:a16="http://schemas.microsoft.com/office/drawing/2014/main" id="{FE922D21-0BFB-2EED-72C5-60CA27AD0F2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Oval 700">
                  <a:extLst>
                    <a:ext uri="{FF2B5EF4-FFF2-40B4-BE49-F238E27FC236}">
                      <a16:creationId xmlns:a16="http://schemas.microsoft.com/office/drawing/2014/main" id="{DB91D119-C6A3-343B-F78E-CE6884698527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88" name="Group 687">
              <a:extLst>
                <a:ext uri="{FF2B5EF4-FFF2-40B4-BE49-F238E27FC236}">
                  <a16:creationId xmlns:a16="http://schemas.microsoft.com/office/drawing/2014/main" id="{9EE01B86-EA7E-99E7-8970-6A0A8AE0AC2A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689" name="Group 688">
                <a:extLst>
                  <a:ext uri="{FF2B5EF4-FFF2-40B4-BE49-F238E27FC236}">
                    <a16:creationId xmlns:a16="http://schemas.microsoft.com/office/drawing/2014/main" id="{46929C18-326E-0B2F-598A-145EEDDA5F4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A20D15C0-6467-5F5B-A6A8-8FEF54807C3F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F035A99B-8B3C-A1A9-135E-83155F41FF07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DF8D8AC-ADCD-0553-7697-39094B06AD3E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0" name="Group 689">
                <a:extLst>
                  <a:ext uri="{FF2B5EF4-FFF2-40B4-BE49-F238E27FC236}">
                    <a16:creationId xmlns:a16="http://schemas.microsoft.com/office/drawing/2014/main" id="{6A8A6102-E365-8F98-944B-2E45CB4DF96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691" name="Oval 690">
                  <a:extLst>
                    <a:ext uri="{FF2B5EF4-FFF2-40B4-BE49-F238E27FC236}">
                      <a16:creationId xmlns:a16="http://schemas.microsoft.com/office/drawing/2014/main" id="{7294DEC4-6210-1B31-3FFF-865BE328EC05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FBE2253E-31AB-2128-0CB0-A87C5037E315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BBE29F10-3016-72BA-0D43-8B4A4D3BEACC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13" name="Group 712">
            <a:extLst>
              <a:ext uri="{FF2B5EF4-FFF2-40B4-BE49-F238E27FC236}">
                <a16:creationId xmlns:a16="http://schemas.microsoft.com/office/drawing/2014/main" id="{5DBC8336-C562-E0C6-29CE-42CF1B17A8D5}"/>
              </a:ext>
            </a:extLst>
          </p:cNvPr>
          <p:cNvGrpSpPr/>
          <p:nvPr/>
        </p:nvGrpSpPr>
        <p:grpSpPr>
          <a:xfrm>
            <a:off x="6204469" y="2504055"/>
            <a:ext cx="786502" cy="834482"/>
            <a:chOff x="1087852" y="2046694"/>
            <a:chExt cx="786502" cy="834482"/>
          </a:xfrm>
        </p:grpSpPr>
        <p:sp>
          <p:nvSpPr>
            <p:cNvPr id="714" name="Cube 713">
              <a:extLst>
                <a:ext uri="{FF2B5EF4-FFF2-40B4-BE49-F238E27FC236}">
                  <a16:creationId xmlns:a16="http://schemas.microsoft.com/office/drawing/2014/main" id="{996F7E92-ADF4-D397-CD13-8B602CF73805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33046E8F-FC7B-B71A-2141-65A2494BC839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34" name="Group 733">
                <a:extLst>
                  <a:ext uri="{FF2B5EF4-FFF2-40B4-BE49-F238E27FC236}">
                    <a16:creationId xmlns:a16="http://schemas.microsoft.com/office/drawing/2014/main" id="{FD3F9380-AEBE-C3DB-DE7A-BEE7E4D6966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39" name="Oval 738">
                  <a:extLst>
                    <a:ext uri="{FF2B5EF4-FFF2-40B4-BE49-F238E27FC236}">
                      <a16:creationId xmlns:a16="http://schemas.microsoft.com/office/drawing/2014/main" id="{A1DA7DBE-C7E5-5745-E90F-AE2F8AF8811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Oval 739">
                  <a:extLst>
                    <a:ext uri="{FF2B5EF4-FFF2-40B4-BE49-F238E27FC236}">
                      <a16:creationId xmlns:a16="http://schemas.microsoft.com/office/drawing/2014/main" id="{0B3C782E-121C-75E6-6E2F-57888725D6C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Oval 740">
                  <a:extLst>
                    <a:ext uri="{FF2B5EF4-FFF2-40B4-BE49-F238E27FC236}">
                      <a16:creationId xmlns:a16="http://schemas.microsoft.com/office/drawing/2014/main" id="{DDDC8003-153B-A66F-5B43-95BBA3159A1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35" name="Group 734">
                <a:extLst>
                  <a:ext uri="{FF2B5EF4-FFF2-40B4-BE49-F238E27FC236}">
                    <a16:creationId xmlns:a16="http://schemas.microsoft.com/office/drawing/2014/main" id="{98EA9449-A5B5-75D2-B716-91B9F6A577C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36" name="Oval 735">
                  <a:extLst>
                    <a:ext uri="{FF2B5EF4-FFF2-40B4-BE49-F238E27FC236}">
                      <a16:creationId xmlns:a16="http://schemas.microsoft.com/office/drawing/2014/main" id="{755B568D-1CB9-FC92-FA5A-0C08C702641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Oval 736">
                  <a:extLst>
                    <a:ext uri="{FF2B5EF4-FFF2-40B4-BE49-F238E27FC236}">
                      <a16:creationId xmlns:a16="http://schemas.microsoft.com/office/drawing/2014/main" id="{C33D7814-72D9-5DBB-E1B6-3FB5553D795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Oval 737">
                  <a:extLst>
                    <a:ext uri="{FF2B5EF4-FFF2-40B4-BE49-F238E27FC236}">
                      <a16:creationId xmlns:a16="http://schemas.microsoft.com/office/drawing/2014/main" id="{197F8626-E594-A60B-C96E-3E4A81E4459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16" name="Group 715">
              <a:extLst>
                <a:ext uri="{FF2B5EF4-FFF2-40B4-BE49-F238E27FC236}">
                  <a16:creationId xmlns:a16="http://schemas.microsoft.com/office/drawing/2014/main" id="{ECE45C4C-8B6B-74A7-3753-6EC294309EEA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26" name="Group 725">
                <a:extLst>
                  <a:ext uri="{FF2B5EF4-FFF2-40B4-BE49-F238E27FC236}">
                    <a16:creationId xmlns:a16="http://schemas.microsoft.com/office/drawing/2014/main" id="{CD5A6956-150A-0E68-E395-7D08FD0A2A6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31" name="Oval 730">
                  <a:extLst>
                    <a:ext uri="{FF2B5EF4-FFF2-40B4-BE49-F238E27FC236}">
                      <a16:creationId xmlns:a16="http://schemas.microsoft.com/office/drawing/2014/main" id="{BEA6D16B-0884-E63C-0A2C-F9C128A847F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Oval 731">
                  <a:extLst>
                    <a:ext uri="{FF2B5EF4-FFF2-40B4-BE49-F238E27FC236}">
                      <a16:creationId xmlns:a16="http://schemas.microsoft.com/office/drawing/2014/main" id="{67A4B216-1D51-9843-F008-3E6E44DD6AE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Oval 732">
                  <a:extLst>
                    <a:ext uri="{FF2B5EF4-FFF2-40B4-BE49-F238E27FC236}">
                      <a16:creationId xmlns:a16="http://schemas.microsoft.com/office/drawing/2014/main" id="{08ABBAB1-839C-5060-A26E-16A26D217C85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7" name="Group 726">
                <a:extLst>
                  <a:ext uri="{FF2B5EF4-FFF2-40B4-BE49-F238E27FC236}">
                    <a16:creationId xmlns:a16="http://schemas.microsoft.com/office/drawing/2014/main" id="{ED370C64-92FA-C169-6FEE-5FB14802C89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28" name="Oval 727">
                  <a:extLst>
                    <a:ext uri="{FF2B5EF4-FFF2-40B4-BE49-F238E27FC236}">
                      <a16:creationId xmlns:a16="http://schemas.microsoft.com/office/drawing/2014/main" id="{ADBAD26B-8076-2647-8CAE-43C423349CE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Oval 728">
                  <a:extLst>
                    <a:ext uri="{FF2B5EF4-FFF2-40B4-BE49-F238E27FC236}">
                      <a16:creationId xmlns:a16="http://schemas.microsoft.com/office/drawing/2014/main" id="{E77869B1-6D61-50C0-8362-E7B60827B49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Oval 729">
                  <a:extLst>
                    <a:ext uri="{FF2B5EF4-FFF2-40B4-BE49-F238E27FC236}">
                      <a16:creationId xmlns:a16="http://schemas.microsoft.com/office/drawing/2014/main" id="{624EF525-5174-0A69-E730-ADFBE27E478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373CF4DB-7F25-D3A3-0E9D-0669406AB84E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18" name="Group 717">
                <a:extLst>
                  <a:ext uri="{FF2B5EF4-FFF2-40B4-BE49-F238E27FC236}">
                    <a16:creationId xmlns:a16="http://schemas.microsoft.com/office/drawing/2014/main" id="{CE94473C-8598-6784-C1F1-D30B8BD7B6F8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23" name="Oval 722">
                  <a:extLst>
                    <a:ext uri="{FF2B5EF4-FFF2-40B4-BE49-F238E27FC236}">
                      <a16:creationId xmlns:a16="http://schemas.microsoft.com/office/drawing/2014/main" id="{81012F61-787B-03B7-5550-EF9C767C5DC3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Oval 723">
                  <a:extLst>
                    <a:ext uri="{FF2B5EF4-FFF2-40B4-BE49-F238E27FC236}">
                      <a16:creationId xmlns:a16="http://schemas.microsoft.com/office/drawing/2014/main" id="{DAEFFAB0-0F1A-CB36-9BC7-5CC6B83BE4EB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Oval 724">
                  <a:extLst>
                    <a:ext uri="{FF2B5EF4-FFF2-40B4-BE49-F238E27FC236}">
                      <a16:creationId xmlns:a16="http://schemas.microsoft.com/office/drawing/2014/main" id="{21A1982C-B72A-186F-F943-0D72532F49B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19" name="Group 718">
                <a:extLst>
                  <a:ext uri="{FF2B5EF4-FFF2-40B4-BE49-F238E27FC236}">
                    <a16:creationId xmlns:a16="http://schemas.microsoft.com/office/drawing/2014/main" id="{BDE080F0-7ED0-233B-D4D8-74BB3819478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20" name="Oval 719">
                  <a:extLst>
                    <a:ext uri="{FF2B5EF4-FFF2-40B4-BE49-F238E27FC236}">
                      <a16:creationId xmlns:a16="http://schemas.microsoft.com/office/drawing/2014/main" id="{4DD85D10-F9DE-7E27-F089-5148AD90E9FF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Oval 720">
                  <a:extLst>
                    <a:ext uri="{FF2B5EF4-FFF2-40B4-BE49-F238E27FC236}">
                      <a16:creationId xmlns:a16="http://schemas.microsoft.com/office/drawing/2014/main" id="{17C9EFB7-479B-632D-0662-8E102003B648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Oval 721">
                  <a:extLst>
                    <a:ext uri="{FF2B5EF4-FFF2-40B4-BE49-F238E27FC236}">
                      <a16:creationId xmlns:a16="http://schemas.microsoft.com/office/drawing/2014/main" id="{242F92FC-8C94-09CB-90F4-91F447EEA11C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9DC208C4-DD2B-8FDB-7DFE-591505A10556}"/>
              </a:ext>
            </a:extLst>
          </p:cNvPr>
          <p:cNvGrpSpPr/>
          <p:nvPr/>
        </p:nvGrpSpPr>
        <p:grpSpPr>
          <a:xfrm>
            <a:off x="7216713" y="2587773"/>
            <a:ext cx="786502" cy="724797"/>
            <a:chOff x="2011006" y="2151325"/>
            <a:chExt cx="786502" cy="724797"/>
          </a:xfrm>
        </p:grpSpPr>
        <p:sp>
          <p:nvSpPr>
            <p:cNvPr id="743" name="Cube 742">
              <a:extLst>
                <a:ext uri="{FF2B5EF4-FFF2-40B4-BE49-F238E27FC236}">
                  <a16:creationId xmlns:a16="http://schemas.microsoft.com/office/drawing/2014/main" id="{C7199971-90AC-6990-FB82-A9A5EE06D5B3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44" name="Group 743">
              <a:extLst>
                <a:ext uri="{FF2B5EF4-FFF2-40B4-BE49-F238E27FC236}">
                  <a16:creationId xmlns:a16="http://schemas.microsoft.com/office/drawing/2014/main" id="{7B6761F8-374E-5B2C-B9D9-51E43AAE6E0C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42BA6B71-2D9D-A4FD-E512-6C246D09BA1B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872866A6-6EED-72A1-BD56-BB0E8D5D033B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12973A5B-50F6-BB7F-4B4C-B280A9F16162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745" name="Group 744">
              <a:extLst>
                <a:ext uri="{FF2B5EF4-FFF2-40B4-BE49-F238E27FC236}">
                  <a16:creationId xmlns:a16="http://schemas.microsoft.com/office/drawing/2014/main" id="{EA0B1742-4A77-D3A0-A6AE-2B09EBA44989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48" name="Group 747">
                <a:extLst>
                  <a:ext uri="{FF2B5EF4-FFF2-40B4-BE49-F238E27FC236}">
                    <a16:creationId xmlns:a16="http://schemas.microsoft.com/office/drawing/2014/main" id="{7D3D4D30-2C9C-F80A-9029-7E9C9873B31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53" name="Oval 752">
                  <a:extLst>
                    <a:ext uri="{FF2B5EF4-FFF2-40B4-BE49-F238E27FC236}">
                      <a16:creationId xmlns:a16="http://schemas.microsoft.com/office/drawing/2014/main" id="{E32E99A8-8C7C-85E9-2D18-CC8833AF77D9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Oval 753">
                  <a:extLst>
                    <a:ext uri="{FF2B5EF4-FFF2-40B4-BE49-F238E27FC236}">
                      <a16:creationId xmlns:a16="http://schemas.microsoft.com/office/drawing/2014/main" id="{0F4C837F-94CF-1FEF-632A-6444ED6882B2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Oval 754">
                  <a:extLst>
                    <a:ext uri="{FF2B5EF4-FFF2-40B4-BE49-F238E27FC236}">
                      <a16:creationId xmlns:a16="http://schemas.microsoft.com/office/drawing/2014/main" id="{33822BA9-8140-6EBC-8835-DDB09564AE4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49" name="Group 748">
                <a:extLst>
                  <a:ext uri="{FF2B5EF4-FFF2-40B4-BE49-F238E27FC236}">
                    <a16:creationId xmlns:a16="http://schemas.microsoft.com/office/drawing/2014/main" id="{AA462D80-0825-5ABE-39C2-F6879B15907C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50" name="Oval 749">
                  <a:extLst>
                    <a:ext uri="{FF2B5EF4-FFF2-40B4-BE49-F238E27FC236}">
                      <a16:creationId xmlns:a16="http://schemas.microsoft.com/office/drawing/2014/main" id="{AE3F57E1-9BA8-117F-02B7-CAC82FFAD84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Oval 750">
                  <a:extLst>
                    <a:ext uri="{FF2B5EF4-FFF2-40B4-BE49-F238E27FC236}">
                      <a16:creationId xmlns:a16="http://schemas.microsoft.com/office/drawing/2014/main" id="{81C18C3D-9639-8042-2A1F-EF2DD164A9E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Oval 751">
                  <a:extLst>
                    <a:ext uri="{FF2B5EF4-FFF2-40B4-BE49-F238E27FC236}">
                      <a16:creationId xmlns:a16="http://schemas.microsoft.com/office/drawing/2014/main" id="{6A97AF1A-D86D-059C-8773-45E7C20C742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746" name="Oval 745">
              <a:extLst>
                <a:ext uri="{FF2B5EF4-FFF2-40B4-BE49-F238E27FC236}">
                  <a16:creationId xmlns:a16="http://schemas.microsoft.com/office/drawing/2014/main" id="{66C3103B-C54C-282A-9CD6-BC32CA8A51DD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47" name="Oval 746">
              <a:extLst>
                <a:ext uri="{FF2B5EF4-FFF2-40B4-BE49-F238E27FC236}">
                  <a16:creationId xmlns:a16="http://schemas.microsoft.com/office/drawing/2014/main" id="{0C3B79D9-6D9A-123E-D586-C6689B8BBB21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cxnSp>
        <p:nvCxnSpPr>
          <p:cNvPr id="759" name="Straight Connector 758">
            <a:extLst>
              <a:ext uri="{FF2B5EF4-FFF2-40B4-BE49-F238E27FC236}">
                <a16:creationId xmlns:a16="http://schemas.microsoft.com/office/drawing/2014/main" id="{8A5750D0-F578-A962-6508-01A7F4A3CF44}"/>
              </a:ext>
            </a:extLst>
          </p:cNvPr>
          <p:cNvCxnSpPr>
            <a:cxnSpLocks/>
          </p:cNvCxnSpPr>
          <p:nvPr/>
        </p:nvCxnSpPr>
        <p:spPr>
          <a:xfrm flipH="1">
            <a:off x="4926435" y="4445404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760" name="Group 759">
            <a:extLst>
              <a:ext uri="{FF2B5EF4-FFF2-40B4-BE49-F238E27FC236}">
                <a16:creationId xmlns:a16="http://schemas.microsoft.com/office/drawing/2014/main" id="{F61CAA3E-3C6C-69D8-8CEE-1A20AAE2CE2C}"/>
              </a:ext>
            </a:extLst>
          </p:cNvPr>
          <p:cNvGrpSpPr/>
          <p:nvPr/>
        </p:nvGrpSpPr>
        <p:grpSpPr>
          <a:xfrm>
            <a:off x="4039694" y="4450673"/>
            <a:ext cx="786502" cy="834482"/>
            <a:chOff x="1087852" y="2046694"/>
            <a:chExt cx="786502" cy="834482"/>
          </a:xfrm>
        </p:grpSpPr>
        <p:sp>
          <p:nvSpPr>
            <p:cNvPr id="761" name="Cube 760">
              <a:extLst>
                <a:ext uri="{FF2B5EF4-FFF2-40B4-BE49-F238E27FC236}">
                  <a16:creationId xmlns:a16="http://schemas.microsoft.com/office/drawing/2014/main" id="{CD0608C1-9AF0-E969-BF56-498F0BB89326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62" name="Group 761">
              <a:extLst>
                <a:ext uri="{FF2B5EF4-FFF2-40B4-BE49-F238E27FC236}">
                  <a16:creationId xmlns:a16="http://schemas.microsoft.com/office/drawing/2014/main" id="{1EA27AA8-1CA1-3D37-B96C-50AF6A354EEF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781" name="Group 780">
                <a:extLst>
                  <a:ext uri="{FF2B5EF4-FFF2-40B4-BE49-F238E27FC236}">
                    <a16:creationId xmlns:a16="http://schemas.microsoft.com/office/drawing/2014/main" id="{2D28E027-6E3A-9627-3FDB-48073BEA70A4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86" name="Oval 785">
                  <a:extLst>
                    <a:ext uri="{FF2B5EF4-FFF2-40B4-BE49-F238E27FC236}">
                      <a16:creationId xmlns:a16="http://schemas.microsoft.com/office/drawing/2014/main" id="{694043A2-3C87-96E4-4338-077296E4055B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Oval 786">
                  <a:extLst>
                    <a:ext uri="{FF2B5EF4-FFF2-40B4-BE49-F238E27FC236}">
                      <a16:creationId xmlns:a16="http://schemas.microsoft.com/office/drawing/2014/main" id="{84C9AD6B-7B34-C936-B156-C8FF93A3101E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Oval 787">
                  <a:extLst>
                    <a:ext uri="{FF2B5EF4-FFF2-40B4-BE49-F238E27FC236}">
                      <a16:creationId xmlns:a16="http://schemas.microsoft.com/office/drawing/2014/main" id="{589E172E-C9FA-7D9B-80D1-A74EF4DECCB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82" name="Group 781">
                <a:extLst>
                  <a:ext uri="{FF2B5EF4-FFF2-40B4-BE49-F238E27FC236}">
                    <a16:creationId xmlns:a16="http://schemas.microsoft.com/office/drawing/2014/main" id="{97DDB9CA-4BA8-03A6-5001-95AD2326E09B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3AFFEB2-3D28-0812-27D0-80A55BA52597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Oval 783">
                  <a:extLst>
                    <a:ext uri="{FF2B5EF4-FFF2-40B4-BE49-F238E27FC236}">
                      <a16:creationId xmlns:a16="http://schemas.microsoft.com/office/drawing/2014/main" id="{42E92666-E62D-EC4B-8629-2D92DBA4D8D5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Oval 784">
                  <a:extLst>
                    <a:ext uri="{FF2B5EF4-FFF2-40B4-BE49-F238E27FC236}">
                      <a16:creationId xmlns:a16="http://schemas.microsoft.com/office/drawing/2014/main" id="{279AAD38-B6ED-6F53-19CD-81A1D1A460B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63" name="Group 762">
              <a:extLst>
                <a:ext uri="{FF2B5EF4-FFF2-40B4-BE49-F238E27FC236}">
                  <a16:creationId xmlns:a16="http://schemas.microsoft.com/office/drawing/2014/main" id="{D2A1DD0F-E81A-E5B4-761B-804ABF802413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773" name="Group 772">
                <a:extLst>
                  <a:ext uri="{FF2B5EF4-FFF2-40B4-BE49-F238E27FC236}">
                    <a16:creationId xmlns:a16="http://schemas.microsoft.com/office/drawing/2014/main" id="{C2BA4600-6F77-C93E-FD3D-92A8F9DF71A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79B7117B-4A11-ADA6-329A-07B3FC2523F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8B95815E-B9C5-A714-8118-2096EFA947E2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AA76D960-CD64-F8FB-D4A3-02E8C7BA72B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74" name="Group 773">
                <a:extLst>
                  <a:ext uri="{FF2B5EF4-FFF2-40B4-BE49-F238E27FC236}">
                    <a16:creationId xmlns:a16="http://schemas.microsoft.com/office/drawing/2014/main" id="{1A0796BA-253A-E88D-8F8C-F8226321B334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75" name="Oval 774">
                  <a:extLst>
                    <a:ext uri="{FF2B5EF4-FFF2-40B4-BE49-F238E27FC236}">
                      <a16:creationId xmlns:a16="http://schemas.microsoft.com/office/drawing/2014/main" id="{987D1B4E-1864-1A0E-B829-195731166AA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61111938-E984-83EE-C9F5-968468A2422C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83875DC5-4807-5B61-6FF0-5BD42A68688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64" name="Group 763">
              <a:extLst>
                <a:ext uri="{FF2B5EF4-FFF2-40B4-BE49-F238E27FC236}">
                  <a16:creationId xmlns:a16="http://schemas.microsoft.com/office/drawing/2014/main" id="{DCC98B74-1E6F-F404-E346-717BEE6AAD2F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6842DC65-E45D-CCCF-C258-8A08C47E0A09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770" name="Oval 769">
                  <a:extLst>
                    <a:ext uri="{FF2B5EF4-FFF2-40B4-BE49-F238E27FC236}">
                      <a16:creationId xmlns:a16="http://schemas.microsoft.com/office/drawing/2014/main" id="{4609E1E0-BA09-DCDF-F9B5-04B86F7D6FE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Oval 770">
                  <a:extLst>
                    <a:ext uri="{FF2B5EF4-FFF2-40B4-BE49-F238E27FC236}">
                      <a16:creationId xmlns:a16="http://schemas.microsoft.com/office/drawing/2014/main" id="{2B8FAF58-9697-18E6-0A81-3DA6EF087A4F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Oval 771">
                  <a:extLst>
                    <a:ext uri="{FF2B5EF4-FFF2-40B4-BE49-F238E27FC236}">
                      <a16:creationId xmlns:a16="http://schemas.microsoft.com/office/drawing/2014/main" id="{DAD67337-18E1-B100-7057-529C2DB5B35A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66" name="Group 765">
                <a:extLst>
                  <a:ext uri="{FF2B5EF4-FFF2-40B4-BE49-F238E27FC236}">
                    <a16:creationId xmlns:a16="http://schemas.microsoft.com/office/drawing/2014/main" id="{8AC9B94D-3F91-7AB1-3538-496F2F31125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67" name="Oval 766">
                  <a:extLst>
                    <a:ext uri="{FF2B5EF4-FFF2-40B4-BE49-F238E27FC236}">
                      <a16:creationId xmlns:a16="http://schemas.microsoft.com/office/drawing/2014/main" id="{3B673891-2A74-8B27-CCE1-0484E0DB39E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Oval 767">
                  <a:extLst>
                    <a:ext uri="{FF2B5EF4-FFF2-40B4-BE49-F238E27FC236}">
                      <a16:creationId xmlns:a16="http://schemas.microsoft.com/office/drawing/2014/main" id="{39221BFF-A7B8-9BCE-835F-14FC92D82ED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Oval 768">
                  <a:extLst>
                    <a:ext uri="{FF2B5EF4-FFF2-40B4-BE49-F238E27FC236}">
                      <a16:creationId xmlns:a16="http://schemas.microsoft.com/office/drawing/2014/main" id="{377FE7A1-5FA5-9284-B848-081D2D40E14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4A81A086-B426-98E2-4484-C391A79C80AD}"/>
              </a:ext>
            </a:extLst>
          </p:cNvPr>
          <p:cNvCxnSpPr>
            <a:cxnSpLocks/>
          </p:cNvCxnSpPr>
          <p:nvPr/>
        </p:nvCxnSpPr>
        <p:spPr>
          <a:xfrm flipH="1">
            <a:off x="7084252" y="4495230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790" name="Group 789">
            <a:extLst>
              <a:ext uri="{FF2B5EF4-FFF2-40B4-BE49-F238E27FC236}">
                <a16:creationId xmlns:a16="http://schemas.microsoft.com/office/drawing/2014/main" id="{85D604E9-AB73-E7C4-88A7-DCA6962B65DA}"/>
              </a:ext>
            </a:extLst>
          </p:cNvPr>
          <p:cNvGrpSpPr/>
          <p:nvPr/>
        </p:nvGrpSpPr>
        <p:grpSpPr>
          <a:xfrm>
            <a:off x="6216493" y="4472320"/>
            <a:ext cx="786502" cy="834482"/>
            <a:chOff x="1087852" y="2046694"/>
            <a:chExt cx="786502" cy="834482"/>
          </a:xfrm>
        </p:grpSpPr>
        <p:sp>
          <p:nvSpPr>
            <p:cNvPr id="791" name="Cube 790">
              <a:extLst>
                <a:ext uri="{FF2B5EF4-FFF2-40B4-BE49-F238E27FC236}">
                  <a16:creationId xmlns:a16="http://schemas.microsoft.com/office/drawing/2014/main" id="{188C25B6-732C-148E-88C4-0E9EB7681814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792" name="Group 791">
              <a:extLst>
                <a:ext uri="{FF2B5EF4-FFF2-40B4-BE49-F238E27FC236}">
                  <a16:creationId xmlns:a16="http://schemas.microsoft.com/office/drawing/2014/main" id="{D2A22D37-E851-CFDD-1771-81D07E9E4721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811" name="Group 810">
                <a:extLst>
                  <a:ext uri="{FF2B5EF4-FFF2-40B4-BE49-F238E27FC236}">
                    <a16:creationId xmlns:a16="http://schemas.microsoft.com/office/drawing/2014/main" id="{C0277217-2338-7ECE-3F18-B8F9395DC3A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16" name="Oval 815">
                  <a:extLst>
                    <a:ext uri="{FF2B5EF4-FFF2-40B4-BE49-F238E27FC236}">
                      <a16:creationId xmlns:a16="http://schemas.microsoft.com/office/drawing/2014/main" id="{867AD5DF-95B2-97C6-EC26-FC6968EA6EA9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Oval 816">
                  <a:extLst>
                    <a:ext uri="{FF2B5EF4-FFF2-40B4-BE49-F238E27FC236}">
                      <a16:creationId xmlns:a16="http://schemas.microsoft.com/office/drawing/2014/main" id="{BF8E2197-1F35-E740-6D44-271754100E87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8706657E-3B20-9302-8FF1-F0DD54353076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12" name="Group 811">
                <a:extLst>
                  <a:ext uri="{FF2B5EF4-FFF2-40B4-BE49-F238E27FC236}">
                    <a16:creationId xmlns:a16="http://schemas.microsoft.com/office/drawing/2014/main" id="{1C316199-3138-3C12-40F2-9B57537431AC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13" name="Oval 812">
                  <a:extLst>
                    <a:ext uri="{FF2B5EF4-FFF2-40B4-BE49-F238E27FC236}">
                      <a16:creationId xmlns:a16="http://schemas.microsoft.com/office/drawing/2014/main" id="{3786BAC9-BAF5-DF0E-B142-C1B2F72CD63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Oval 813">
                  <a:extLst>
                    <a:ext uri="{FF2B5EF4-FFF2-40B4-BE49-F238E27FC236}">
                      <a16:creationId xmlns:a16="http://schemas.microsoft.com/office/drawing/2014/main" id="{97908CD3-B44F-754B-D5E9-DEE6FEB0D2B0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Oval 814">
                  <a:extLst>
                    <a:ext uri="{FF2B5EF4-FFF2-40B4-BE49-F238E27FC236}">
                      <a16:creationId xmlns:a16="http://schemas.microsoft.com/office/drawing/2014/main" id="{2960D5E7-CB9E-60F6-36DE-8D13A9DA2BD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93" name="Group 792">
              <a:extLst>
                <a:ext uri="{FF2B5EF4-FFF2-40B4-BE49-F238E27FC236}">
                  <a16:creationId xmlns:a16="http://schemas.microsoft.com/office/drawing/2014/main" id="{FB7E516E-AD1A-6845-5FF8-2FF3D2DC150C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803" name="Group 802">
                <a:extLst>
                  <a:ext uri="{FF2B5EF4-FFF2-40B4-BE49-F238E27FC236}">
                    <a16:creationId xmlns:a16="http://schemas.microsoft.com/office/drawing/2014/main" id="{940530DE-F963-1907-2931-76316FC9D69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08" name="Oval 807">
                  <a:extLst>
                    <a:ext uri="{FF2B5EF4-FFF2-40B4-BE49-F238E27FC236}">
                      <a16:creationId xmlns:a16="http://schemas.microsoft.com/office/drawing/2014/main" id="{BB395828-ED69-7A42-8E44-F1DD38BB0F7D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Oval 808">
                  <a:extLst>
                    <a:ext uri="{FF2B5EF4-FFF2-40B4-BE49-F238E27FC236}">
                      <a16:creationId xmlns:a16="http://schemas.microsoft.com/office/drawing/2014/main" id="{6801791D-820F-07E3-2DB2-0058341CD49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Oval 809">
                  <a:extLst>
                    <a:ext uri="{FF2B5EF4-FFF2-40B4-BE49-F238E27FC236}">
                      <a16:creationId xmlns:a16="http://schemas.microsoft.com/office/drawing/2014/main" id="{A136BCBC-D40E-5380-E27A-ECB112D0625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04" name="Group 803">
                <a:extLst>
                  <a:ext uri="{FF2B5EF4-FFF2-40B4-BE49-F238E27FC236}">
                    <a16:creationId xmlns:a16="http://schemas.microsoft.com/office/drawing/2014/main" id="{C1364661-397D-2A48-76A3-7DFE30613DC2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05" name="Oval 804">
                  <a:extLst>
                    <a:ext uri="{FF2B5EF4-FFF2-40B4-BE49-F238E27FC236}">
                      <a16:creationId xmlns:a16="http://schemas.microsoft.com/office/drawing/2014/main" id="{D021E8BE-DB39-9F4D-BFFB-AC09C2E9FAC9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Oval 805">
                  <a:extLst>
                    <a:ext uri="{FF2B5EF4-FFF2-40B4-BE49-F238E27FC236}">
                      <a16:creationId xmlns:a16="http://schemas.microsoft.com/office/drawing/2014/main" id="{7BEBD54A-0A8D-C6C9-F738-E334C70BCCE7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Oval 806">
                  <a:extLst>
                    <a:ext uri="{FF2B5EF4-FFF2-40B4-BE49-F238E27FC236}">
                      <a16:creationId xmlns:a16="http://schemas.microsoft.com/office/drawing/2014/main" id="{03FD7B7F-DD06-0C0D-B2DA-78D33CAD4C2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94" name="Group 793">
              <a:extLst>
                <a:ext uri="{FF2B5EF4-FFF2-40B4-BE49-F238E27FC236}">
                  <a16:creationId xmlns:a16="http://schemas.microsoft.com/office/drawing/2014/main" id="{B52DD979-540E-919F-6F4B-55ECCAA494B6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795" name="Group 794">
                <a:extLst>
                  <a:ext uri="{FF2B5EF4-FFF2-40B4-BE49-F238E27FC236}">
                    <a16:creationId xmlns:a16="http://schemas.microsoft.com/office/drawing/2014/main" id="{BE169BBA-7CF4-F921-53EB-180D6376B5A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00" name="Oval 799">
                  <a:extLst>
                    <a:ext uri="{FF2B5EF4-FFF2-40B4-BE49-F238E27FC236}">
                      <a16:creationId xmlns:a16="http://schemas.microsoft.com/office/drawing/2014/main" id="{B83609E4-45F3-721A-A582-CF423BF68BA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Oval 800">
                  <a:extLst>
                    <a:ext uri="{FF2B5EF4-FFF2-40B4-BE49-F238E27FC236}">
                      <a16:creationId xmlns:a16="http://schemas.microsoft.com/office/drawing/2014/main" id="{D088052D-EB06-9B67-C012-DA0D02FEBEDA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Oval 801">
                  <a:extLst>
                    <a:ext uri="{FF2B5EF4-FFF2-40B4-BE49-F238E27FC236}">
                      <a16:creationId xmlns:a16="http://schemas.microsoft.com/office/drawing/2014/main" id="{9F90F6D0-17F7-3172-CCAB-0BB8DAA6590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96" name="Group 795">
                <a:extLst>
                  <a:ext uri="{FF2B5EF4-FFF2-40B4-BE49-F238E27FC236}">
                    <a16:creationId xmlns:a16="http://schemas.microsoft.com/office/drawing/2014/main" id="{A7523050-F5E5-CFE3-987B-8E675DCCF9D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797" name="Oval 796">
                  <a:extLst>
                    <a:ext uri="{FF2B5EF4-FFF2-40B4-BE49-F238E27FC236}">
                      <a16:creationId xmlns:a16="http://schemas.microsoft.com/office/drawing/2014/main" id="{DC6A8948-986B-AC6F-A681-1643AFAD25A5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Oval 797">
                  <a:extLst>
                    <a:ext uri="{FF2B5EF4-FFF2-40B4-BE49-F238E27FC236}">
                      <a16:creationId xmlns:a16="http://schemas.microsoft.com/office/drawing/2014/main" id="{15C8B4A6-EA40-F2C9-AD76-5816521013EB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Oval 798">
                  <a:extLst>
                    <a:ext uri="{FF2B5EF4-FFF2-40B4-BE49-F238E27FC236}">
                      <a16:creationId xmlns:a16="http://schemas.microsoft.com/office/drawing/2014/main" id="{84694C11-9292-1F2C-CF6B-E3B1ADF9EF6D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819" name="Group 818">
            <a:extLst>
              <a:ext uri="{FF2B5EF4-FFF2-40B4-BE49-F238E27FC236}">
                <a16:creationId xmlns:a16="http://schemas.microsoft.com/office/drawing/2014/main" id="{228C4754-ED88-223E-7CC1-3792C7BE5AC6}"/>
              </a:ext>
            </a:extLst>
          </p:cNvPr>
          <p:cNvGrpSpPr/>
          <p:nvPr/>
        </p:nvGrpSpPr>
        <p:grpSpPr>
          <a:xfrm>
            <a:off x="7152456" y="4451393"/>
            <a:ext cx="948428" cy="828746"/>
            <a:chOff x="7152456" y="4451393"/>
            <a:chExt cx="948428" cy="828746"/>
          </a:xfrm>
        </p:grpSpPr>
        <p:sp>
          <p:nvSpPr>
            <p:cNvPr id="820" name="TextBox 819">
              <a:extLst>
                <a:ext uri="{FF2B5EF4-FFF2-40B4-BE49-F238E27FC236}">
                  <a16:creationId xmlns:a16="http://schemas.microsoft.com/office/drawing/2014/main" id="{C5A761DB-F44A-4CDB-448A-667A2E21757D}"/>
                </a:ext>
              </a:extLst>
            </p:cNvPr>
            <p:cNvSpPr txBox="1"/>
            <p:nvPr/>
          </p:nvSpPr>
          <p:spPr>
            <a:xfrm>
              <a:off x="7710143" y="5006595"/>
              <a:ext cx="390741" cy="1692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75000"/>
                    </a:srgbClr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821" name="Cube 820">
              <a:extLst>
                <a:ext uri="{FF2B5EF4-FFF2-40B4-BE49-F238E27FC236}">
                  <a16:creationId xmlns:a16="http://schemas.microsoft.com/office/drawing/2014/main" id="{BFE009DE-E4A0-8391-FE73-792A428E7CE2}"/>
                </a:ext>
              </a:extLst>
            </p:cNvPr>
            <p:cNvSpPr/>
            <p:nvPr/>
          </p:nvSpPr>
          <p:spPr>
            <a:xfrm>
              <a:off x="7227779" y="4560139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822" name="Group 821">
              <a:extLst>
                <a:ext uri="{FF2B5EF4-FFF2-40B4-BE49-F238E27FC236}">
                  <a16:creationId xmlns:a16="http://schemas.microsoft.com/office/drawing/2014/main" id="{5F4BA9D3-423E-9D58-FFC6-1489B5E42B35}"/>
                </a:ext>
              </a:extLst>
            </p:cNvPr>
            <p:cNvGrpSpPr/>
            <p:nvPr/>
          </p:nvGrpSpPr>
          <p:grpSpPr>
            <a:xfrm>
              <a:off x="7686606" y="4751047"/>
              <a:ext cx="356727" cy="408892"/>
              <a:chOff x="2103857" y="2408469"/>
              <a:chExt cx="356727" cy="408892"/>
            </a:xfrm>
            <a:scene3d>
              <a:camera prst="isometricOffAxis2Right"/>
              <a:lightRig rig="threePt" dir="t"/>
            </a:scene3d>
          </p:grpSpPr>
          <p:sp>
            <p:nvSpPr>
              <p:cNvPr id="835" name="Oval 834">
                <a:extLst>
                  <a:ext uri="{FF2B5EF4-FFF2-40B4-BE49-F238E27FC236}">
                    <a16:creationId xmlns:a16="http://schemas.microsoft.com/office/drawing/2014/main" id="{E6ECFB0A-5E03-1353-4D6F-4A2DC876A5F7}"/>
                  </a:ext>
                </a:extLst>
              </p:cNvPr>
              <p:cNvSpPr/>
              <p:nvPr/>
            </p:nvSpPr>
            <p:spPr>
              <a:xfrm rot="19434135">
                <a:off x="21038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36" name="Oval 835">
                <a:extLst>
                  <a:ext uri="{FF2B5EF4-FFF2-40B4-BE49-F238E27FC236}">
                    <a16:creationId xmlns:a16="http://schemas.microsoft.com/office/drawing/2014/main" id="{D5D43C55-B93C-C9B4-23DB-F5C50A049F9D}"/>
                  </a:ext>
                </a:extLst>
              </p:cNvPr>
              <p:cNvSpPr/>
              <p:nvPr/>
            </p:nvSpPr>
            <p:spPr>
              <a:xfrm rot="19434135">
                <a:off x="23525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37" name="Oval 836">
                <a:extLst>
                  <a:ext uri="{FF2B5EF4-FFF2-40B4-BE49-F238E27FC236}">
                    <a16:creationId xmlns:a16="http://schemas.microsoft.com/office/drawing/2014/main" id="{5D27DB11-74CD-F9DD-9E49-3B02C4E85D96}"/>
                  </a:ext>
                </a:extLst>
              </p:cNvPr>
              <p:cNvSpPr/>
              <p:nvPr/>
            </p:nvSpPr>
            <p:spPr>
              <a:xfrm rot="19434135">
                <a:off x="222822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823" name="Group 822">
              <a:extLst>
                <a:ext uri="{FF2B5EF4-FFF2-40B4-BE49-F238E27FC236}">
                  <a16:creationId xmlns:a16="http://schemas.microsoft.com/office/drawing/2014/main" id="{B254DB39-820D-A198-220A-F710BD8E5006}"/>
                </a:ext>
              </a:extLst>
            </p:cNvPr>
            <p:cNvGrpSpPr/>
            <p:nvPr/>
          </p:nvGrpSpPr>
          <p:grpSpPr>
            <a:xfrm rot="21120158">
              <a:off x="7443635" y="4451393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827" name="Group 826">
                <a:extLst>
                  <a:ext uri="{FF2B5EF4-FFF2-40B4-BE49-F238E27FC236}">
                    <a16:creationId xmlns:a16="http://schemas.microsoft.com/office/drawing/2014/main" id="{78223B80-8707-D0AE-5218-9DEDBA96EC1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832" name="Oval 831">
                  <a:extLst>
                    <a:ext uri="{FF2B5EF4-FFF2-40B4-BE49-F238E27FC236}">
                      <a16:creationId xmlns:a16="http://schemas.microsoft.com/office/drawing/2014/main" id="{4792A354-DD85-F387-EB59-3A889DBCF5C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Oval 832">
                  <a:extLst>
                    <a:ext uri="{FF2B5EF4-FFF2-40B4-BE49-F238E27FC236}">
                      <a16:creationId xmlns:a16="http://schemas.microsoft.com/office/drawing/2014/main" id="{C9B5927D-CA87-4FD1-BE23-E82FBB993DCF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Oval 833">
                  <a:extLst>
                    <a:ext uri="{FF2B5EF4-FFF2-40B4-BE49-F238E27FC236}">
                      <a16:creationId xmlns:a16="http://schemas.microsoft.com/office/drawing/2014/main" id="{F3CDEF68-B036-F010-C8E1-6A73B7785EE3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8" name="Group 827">
                <a:extLst>
                  <a:ext uri="{FF2B5EF4-FFF2-40B4-BE49-F238E27FC236}">
                    <a16:creationId xmlns:a16="http://schemas.microsoft.com/office/drawing/2014/main" id="{558D54FE-082F-A354-C13E-75F5C35131E9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829" name="Oval 828">
                  <a:extLst>
                    <a:ext uri="{FF2B5EF4-FFF2-40B4-BE49-F238E27FC236}">
                      <a16:creationId xmlns:a16="http://schemas.microsoft.com/office/drawing/2014/main" id="{C3CBE249-3919-5185-33A4-0808EC483E0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Oval 829">
                  <a:extLst>
                    <a:ext uri="{FF2B5EF4-FFF2-40B4-BE49-F238E27FC236}">
                      <a16:creationId xmlns:a16="http://schemas.microsoft.com/office/drawing/2014/main" id="{71DC72F0-4F30-945D-F910-A30A75BB67FC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Oval 830">
                  <a:extLst>
                    <a:ext uri="{FF2B5EF4-FFF2-40B4-BE49-F238E27FC236}">
                      <a16:creationId xmlns:a16="http://schemas.microsoft.com/office/drawing/2014/main" id="{C1BFD162-7072-6AF2-F722-CF035F91D2C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824" name="Oval 823">
              <a:extLst>
                <a:ext uri="{FF2B5EF4-FFF2-40B4-BE49-F238E27FC236}">
                  <a16:creationId xmlns:a16="http://schemas.microsoft.com/office/drawing/2014/main" id="{FBA70D98-18A1-8D5F-69E0-ABC84DFD3CF5}"/>
                </a:ext>
              </a:extLst>
            </p:cNvPr>
            <p:cNvSpPr/>
            <p:nvPr/>
          </p:nvSpPr>
          <p:spPr>
            <a:xfrm>
              <a:off x="7305083" y="482157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25" name="Oval 824">
              <a:extLst>
                <a:ext uri="{FF2B5EF4-FFF2-40B4-BE49-F238E27FC236}">
                  <a16:creationId xmlns:a16="http://schemas.microsoft.com/office/drawing/2014/main" id="{A5D10CAE-D80C-4165-00EA-FC3EB481F7BC}"/>
                </a:ext>
              </a:extLst>
            </p:cNvPr>
            <p:cNvSpPr/>
            <p:nvPr/>
          </p:nvSpPr>
          <p:spPr>
            <a:xfrm>
              <a:off x="7574361" y="5072911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826" name="Connector: Curved 825">
              <a:extLst>
                <a:ext uri="{FF2B5EF4-FFF2-40B4-BE49-F238E27FC236}">
                  <a16:creationId xmlns:a16="http://schemas.microsoft.com/office/drawing/2014/main" id="{55826E83-8BCA-3891-BBCC-0B61574D053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128716" y="4565445"/>
              <a:ext cx="233357" cy="185877"/>
            </a:xfrm>
            <a:prstGeom prst="curvedConnector3">
              <a:avLst>
                <a:gd name="adj1" fmla="val -73741"/>
              </a:avLst>
            </a:prstGeom>
            <a:noFill/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</p:grpSp>
      <p:sp>
        <p:nvSpPr>
          <p:cNvPr id="838" name="TextBox 837">
            <a:extLst>
              <a:ext uri="{FF2B5EF4-FFF2-40B4-BE49-F238E27FC236}">
                <a16:creationId xmlns:a16="http://schemas.microsoft.com/office/drawing/2014/main" id="{43387098-7A45-0561-860A-A3024450B538}"/>
              </a:ext>
            </a:extLst>
          </p:cNvPr>
          <p:cNvSpPr txBox="1"/>
          <p:nvPr/>
        </p:nvSpPr>
        <p:spPr>
          <a:xfrm>
            <a:off x="3853060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loaded die.</a:t>
            </a:r>
          </a:p>
        </p:txBody>
      </p:sp>
    </p:spTree>
    <p:extLst>
      <p:ext uri="{BB962C8B-B14F-4D97-AF65-F5344CB8AC3E}">
        <p14:creationId xmlns:p14="http://schemas.microsoft.com/office/powerpoint/2010/main" val="824777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CECF2-E2B2-EB09-5993-2D045279F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imple game about fairnes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2DE277-8DEF-93B8-02E5-F0D38E54B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9C94B-F43D-9EF9-AED9-24AD463AB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255DF9E4-DC36-C911-C0A8-AC4F6DAA6153}"/>
              </a:ext>
            </a:extLst>
          </p:cNvPr>
          <p:cNvSpPr txBox="1"/>
          <p:nvPr/>
        </p:nvSpPr>
        <p:spPr>
          <a:xfrm>
            <a:off x="5999811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, 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t we flip their die to si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AA358CA6-3E52-9FD3-CD48-CAC30866A696}"/>
              </a:ext>
            </a:extLst>
          </p:cNvPr>
          <p:cNvSpPr txBox="1"/>
          <p:nvPr/>
        </p:nvSpPr>
        <p:spPr>
          <a:xfrm>
            <a:off x="599981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1 gets a loaded die.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2 gets a regular die.</a:t>
            </a:r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779B3EA5-21C3-C357-14BE-8B808FF3F5C8}"/>
              </a:ext>
            </a:extLst>
          </p:cNvPr>
          <p:cNvCxnSpPr>
            <a:cxnSpLocks/>
          </p:cNvCxnSpPr>
          <p:nvPr/>
        </p:nvCxnSpPr>
        <p:spPr>
          <a:xfrm flipH="1">
            <a:off x="7073186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984708A6-5295-B160-3243-48DBF3F2B129}"/>
              </a:ext>
            </a:extLst>
          </p:cNvPr>
          <p:cNvSpPr txBox="1"/>
          <p:nvPr/>
        </p:nvSpPr>
        <p:spPr>
          <a:xfrm>
            <a:off x="889618" y="3213318"/>
            <a:ext cx="2596825" cy="2156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ules</a:t>
            </a:r>
          </a:p>
        </p:txBody>
      </p:sp>
      <p:sp>
        <p:nvSpPr>
          <p:cNvPr id="217" name="Textfeld 16">
            <a:extLst>
              <a:ext uri="{FF2B5EF4-FFF2-40B4-BE49-F238E27FC236}">
                <a16:creationId xmlns:a16="http://schemas.microsoft.com/office/drawing/2014/main" id="{306DC97E-71C0-0DB5-995C-32C960AB7FA5}"/>
              </a:ext>
            </a:extLst>
          </p:cNvPr>
          <p:cNvSpPr txBox="1"/>
          <p:nvPr/>
        </p:nvSpPr>
        <p:spPr>
          <a:xfrm>
            <a:off x="4015813" y="5704460"/>
            <a:ext cx="44940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218" name="Textfeld 18">
            <a:extLst>
              <a:ext uri="{FF2B5EF4-FFF2-40B4-BE49-F238E27FC236}">
                <a16:creationId xmlns:a16="http://schemas.microsoft.com/office/drawing/2014/main" id="{FB8BD337-CE05-30F5-7E2B-D6DE26F97592}"/>
              </a:ext>
            </a:extLst>
          </p:cNvPr>
          <p:cNvSpPr txBox="1"/>
          <p:nvPr/>
        </p:nvSpPr>
        <p:spPr>
          <a:xfrm>
            <a:off x="7383707" y="5704459"/>
            <a:ext cx="616121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219" name="Textfeld 17">
            <a:extLst>
              <a:ext uri="{FF2B5EF4-FFF2-40B4-BE49-F238E27FC236}">
                <a16:creationId xmlns:a16="http://schemas.microsoft.com/office/drawing/2014/main" id="{B09AE5B2-701F-5B98-5D16-5F67B554AFE6}"/>
              </a:ext>
            </a:extLst>
          </p:cNvPr>
          <p:cNvSpPr txBox="1"/>
          <p:nvPr/>
        </p:nvSpPr>
        <p:spPr>
          <a:xfrm>
            <a:off x="3200588" y="1983111"/>
            <a:ext cx="652472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qual</a:t>
            </a:r>
          </a:p>
        </p:txBody>
      </p:sp>
      <p:sp>
        <p:nvSpPr>
          <p:cNvPr id="220" name="Textfeld 19">
            <a:extLst>
              <a:ext uri="{FF2B5EF4-FFF2-40B4-BE49-F238E27FC236}">
                <a16:creationId xmlns:a16="http://schemas.microsoft.com/office/drawing/2014/main" id="{33C1D585-E0CE-5FC0-A7E2-756C20FFF3D9}"/>
              </a:ext>
            </a:extLst>
          </p:cNvPr>
          <p:cNvSpPr txBox="1"/>
          <p:nvPr/>
        </p:nvSpPr>
        <p:spPr>
          <a:xfrm>
            <a:off x="3367301" y="5324397"/>
            <a:ext cx="485761" cy="257369"/>
          </a:xfrm>
          <a:prstGeom prst="rect">
            <a:avLst/>
          </a:prstGeom>
          <a:noFill/>
        </p:spPr>
        <p:txBody>
          <a:bodyPr wrap="none" lIns="54000" tIns="36000" rIns="54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qual</a:t>
            </a:r>
          </a:p>
        </p:txBody>
      </p:sp>
      <p:sp>
        <p:nvSpPr>
          <p:cNvPr id="221" name="Textfeld 9">
            <a:extLst>
              <a:ext uri="{FF2B5EF4-FFF2-40B4-BE49-F238E27FC236}">
                <a16:creationId xmlns:a16="http://schemas.microsoft.com/office/drawing/2014/main" id="{08908070-17A7-4772-540B-2A6215BC48A0}"/>
              </a:ext>
            </a:extLst>
          </p:cNvPr>
          <p:cNvSpPr txBox="1"/>
          <p:nvPr/>
        </p:nvSpPr>
        <p:spPr>
          <a:xfrm rot="16200000">
            <a:off x="2375895" y="3641527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>
            <a:defPPr>
              <a:defRPr lang="en-US"/>
            </a:defPPr>
            <a:lvl1pPr algn="ctr">
              <a:defRPr sz="1400" b="1">
                <a:latin typeface="Trebuchet MS" panose="020B0603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rPr>
              <a:t>Outcome</a:t>
            </a:r>
          </a:p>
        </p:txBody>
      </p:sp>
      <p:sp>
        <p:nvSpPr>
          <p:cNvPr id="222" name="Textfeld 10">
            <a:extLst>
              <a:ext uri="{FF2B5EF4-FFF2-40B4-BE49-F238E27FC236}">
                <a16:creationId xmlns:a16="http://schemas.microsoft.com/office/drawing/2014/main" id="{ECB3E9C3-B38C-A3ED-4804-FC7D89511300}"/>
              </a:ext>
            </a:extLst>
          </p:cNvPr>
          <p:cNvSpPr txBox="1"/>
          <p:nvPr/>
        </p:nvSpPr>
        <p:spPr>
          <a:xfrm>
            <a:off x="4723363" y="5689071"/>
            <a:ext cx="2532458" cy="288147"/>
          </a:xfrm>
          <a:prstGeom prst="rect">
            <a:avLst/>
          </a:prstGeom>
          <a:noFill/>
        </p:spPr>
        <p:txBody>
          <a:bodyPr wrap="square" lIns="54000" tIns="36000" rIns="54000" bIns="3600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cess</a:t>
            </a:r>
          </a:p>
        </p:txBody>
      </p:sp>
      <p:pic>
        <p:nvPicPr>
          <p:cNvPr id="223" name="Graphic 222" descr="Badge 3 with solid fill">
            <a:extLst>
              <a:ext uri="{FF2B5EF4-FFF2-40B4-BE49-F238E27FC236}">
                <a16:creationId xmlns:a16="http://schemas.microsoft.com/office/drawing/2014/main" id="{AEC57F54-3141-D4D6-5BED-3A3C81CE0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6292" y="4272516"/>
            <a:ext cx="826169" cy="826169"/>
          </a:xfrm>
          <a:prstGeom prst="rect">
            <a:avLst/>
          </a:prstGeom>
        </p:spPr>
      </p:pic>
      <p:pic>
        <p:nvPicPr>
          <p:cNvPr id="224" name="Graphic 223" descr="Badge 1 with solid fill">
            <a:extLst>
              <a:ext uri="{FF2B5EF4-FFF2-40B4-BE49-F238E27FC236}">
                <a16:creationId xmlns:a16="http://schemas.microsoft.com/office/drawing/2014/main" id="{DF92D819-71FE-9F7B-7338-15F78909D9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6893" y="4272516"/>
            <a:ext cx="826169" cy="826169"/>
          </a:xfrm>
          <a:prstGeom prst="rect">
            <a:avLst/>
          </a:prstGeom>
        </p:spPr>
      </p:pic>
      <p:pic>
        <p:nvPicPr>
          <p:cNvPr id="225" name="Graphic 224" descr="Badge 4 with solid fill">
            <a:extLst>
              <a:ext uri="{FF2B5EF4-FFF2-40B4-BE49-F238E27FC236}">
                <a16:creationId xmlns:a16="http://schemas.microsoft.com/office/drawing/2014/main" id="{6A98B6F4-EB48-80E0-3CDA-3970511D95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6292" y="2472517"/>
            <a:ext cx="826169" cy="826169"/>
          </a:xfrm>
          <a:prstGeom prst="rect">
            <a:avLst/>
          </a:prstGeom>
        </p:spPr>
      </p:pic>
      <p:sp>
        <p:nvSpPr>
          <p:cNvPr id="226" name="TextBox 225">
            <a:extLst>
              <a:ext uri="{FF2B5EF4-FFF2-40B4-BE49-F238E27FC236}">
                <a16:creationId xmlns:a16="http://schemas.microsoft.com/office/drawing/2014/main" id="{D278C94C-FCB6-D330-9880-40971715FB90}"/>
              </a:ext>
            </a:extLst>
          </p:cNvPr>
          <p:cNvSpPr txBox="1"/>
          <p:nvPr/>
        </p:nvSpPr>
        <p:spPr>
          <a:xfrm>
            <a:off x="3853061" y="174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regular die.</a:t>
            </a:r>
          </a:p>
        </p:txBody>
      </p:sp>
      <p:pic>
        <p:nvPicPr>
          <p:cNvPr id="227" name="Graphic 226" descr="Badge with solid fill">
            <a:extLst>
              <a:ext uri="{FF2B5EF4-FFF2-40B4-BE49-F238E27FC236}">
                <a16:creationId xmlns:a16="http://schemas.microsoft.com/office/drawing/2014/main" id="{745799C0-0006-1202-9CDE-6C6C76DBC1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26893" y="2472517"/>
            <a:ext cx="826169" cy="826169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id="{8026B9C9-B188-6718-36A5-FAE3866BD0ED}"/>
              </a:ext>
            </a:extLst>
          </p:cNvPr>
          <p:cNvSpPr txBox="1"/>
          <p:nvPr/>
        </p:nvSpPr>
        <p:spPr>
          <a:xfrm>
            <a:off x="8381724" y="3681666"/>
            <a:ext cx="3117968" cy="29050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tributed among winners.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D57A4E89-61BD-3B75-7B93-CB70DC7B4089}"/>
              </a:ext>
            </a:extLst>
          </p:cNvPr>
          <p:cNvSpPr txBox="1"/>
          <p:nvPr/>
        </p:nvSpPr>
        <p:spPr>
          <a:xfrm>
            <a:off x="8381724" y="3213317"/>
            <a:ext cx="31179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ize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EA593C24-F16D-B667-C6D9-DBBF03AEEF28}"/>
              </a:ext>
            </a:extLst>
          </p:cNvPr>
          <p:cNvSpPr txBox="1"/>
          <p:nvPr/>
        </p:nvSpPr>
        <p:spPr>
          <a:xfrm>
            <a:off x="8381724" y="3474375"/>
            <a:ext cx="3117968" cy="2068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rinks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tire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BBDFFE7B-EFF5-0883-30D3-D00A47FF30B8}"/>
              </a:ext>
            </a:extLst>
          </p:cNvPr>
          <p:cNvCxnSpPr>
            <a:cxnSpLocks/>
          </p:cNvCxnSpPr>
          <p:nvPr/>
        </p:nvCxnSpPr>
        <p:spPr>
          <a:xfrm flipH="1">
            <a:off x="4926435" y="2527661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D1F83981-795A-E78F-C732-1B7F0D4135B8}"/>
              </a:ext>
            </a:extLst>
          </p:cNvPr>
          <p:cNvGrpSpPr/>
          <p:nvPr/>
        </p:nvGrpSpPr>
        <p:grpSpPr>
          <a:xfrm>
            <a:off x="5059074" y="2587773"/>
            <a:ext cx="786502" cy="724797"/>
            <a:chOff x="2011006" y="2151325"/>
            <a:chExt cx="786502" cy="724797"/>
          </a:xfrm>
        </p:grpSpPr>
        <p:sp>
          <p:nvSpPr>
            <p:cNvPr id="233" name="Cube 232">
              <a:extLst>
                <a:ext uri="{FF2B5EF4-FFF2-40B4-BE49-F238E27FC236}">
                  <a16:creationId xmlns:a16="http://schemas.microsoft.com/office/drawing/2014/main" id="{73C8D2AA-BC19-9376-1A34-28A0E7E70378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8BBD1F0B-0F8E-10CF-0C57-02710D8F5BED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93AF6EDB-410B-2786-8ECE-4B5E71631019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CB3315FC-CCC4-B930-FB2A-7ABA8976D1C8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91C3FC70-6596-7410-4710-23596D7B8283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72307903-1308-FC0E-A089-B25BFC1B4746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B4752389-9405-E618-AA50-2F1F5AEF904C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43" name="Oval 242">
                  <a:extLst>
                    <a:ext uri="{FF2B5EF4-FFF2-40B4-BE49-F238E27FC236}">
                      <a16:creationId xmlns:a16="http://schemas.microsoft.com/office/drawing/2014/main" id="{132273A5-C8BF-3CD9-1C89-224AFDB2D4C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Oval 243">
                  <a:extLst>
                    <a:ext uri="{FF2B5EF4-FFF2-40B4-BE49-F238E27FC236}">
                      <a16:creationId xmlns:a16="http://schemas.microsoft.com/office/drawing/2014/main" id="{C59DDCB8-C331-FE99-3428-7F4CE2B3114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Oval 244">
                  <a:extLst>
                    <a:ext uri="{FF2B5EF4-FFF2-40B4-BE49-F238E27FC236}">
                      <a16:creationId xmlns:a16="http://schemas.microsoft.com/office/drawing/2014/main" id="{9A6EE910-2552-81F7-56F3-623B30FD964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8CFF6EC0-2EDE-8288-7D78-89885DAEAB6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40" name="Oval 239">
                  <a:extLst>
                    <a:ext uri="{FF2B5EF4-FFF2-40B4-BE49-F238E27FC236}">
                      <a16:creationId xmlns:a16="http://schemas.microsoft.com/office/drawing/2014/main" id="{17BCB068-A4F6-647E-4937-A457064EFF1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Oval 240">
                  <a:extLst>
                    <a:ext uri="{FF2B5EF4-FFF2-40B4-BE49-F238E27FC236}">
                      <a16:creationId xmlns:a16="http://schemas.microsoft.com/office/drawing/2014/main" id="{7EA4B488-C52F-9ACB-2D48-E7AB0A66EBC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F3C5B284-94A5-C136-3185-D6AE826DFBD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492A0BF0-C320-C301-D27E-670A2A6EFA52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CD3094E3-AB3F-68BC-591B-BC86DD1BD22D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BDE682FA-1D14-26A1-8FA6-AFFE2188F6F4}"/>
              </a:ext>
            </a:extLst>
          </p:cNvPr>
          <p:cNvGrpSpPr/>
          <p:nvPr/>
        </p:nvGrpSpPr>
        <p:grpSpPr>
          <a:xfrm>
            <a:off x="4045418" y="2587773"/>
            <a:ext cx="786502" cy="724797"/>
            <a:chOff x="2011006" y="2151325"/>
            <a:chExt cx="786502" cy="724797"/>
          </a:xfrm>
        </p:grpSpPr>
        <p:sp>
          <p:nvSpPr>
            <p:cNvPr id="250" name="Cube 249">
              <a:extLst>
                <a:ext uri="{FF2B5EF4-FFF2-40B4-BE49-F238E27FC236}">
                  <a16:creationId xmlns:a16="http://schemas.microsoft.com/office/drawing/2014/main" id="{34F199F6-2C41-BBD1-1EF7-A522594E0CCE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89BD93D6-3BD9-ED78-E827-2A27CAFFEFF9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1958EE39-FB48-2446-518B-1B7E7F652224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99805061-05C2-5751-C7FB-38C97F41B79B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99A1F18A-6601-67BD-6837-BBD1A01F46DD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7D1C4716-267C-F5F3-92F5-CC8C16C226A3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9225BC26-FECB-B137-F20E-308F57D00305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7C39F42A-9E0F-9C21-BC5A-C2208660FE0E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Oval 260">
                  <a:extLst>
                    <a:ext uri="{FF2B5EF4-FFF2-40B4-BE49-F238E27FC236}">
                      <a16:creationId xmlns:a16="http://schemas.microsoft.com/office/drawing/2014/main" id="{A9553CF3-629A-89D0-DEF9-BE3DDC6AD3FE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Oval 261">
                  <a:extLst>
                    <a:ext uri="{FF2B5EF4-FFF2-40B4-BE49-F238E27FC236}">
                      <a16:creationId xmlns:a16="http://schemas.microsoft.com/office/drawing/2014/main" id="{EE3FC092-D00F-339A-61F0-BC9F16D0B621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94BAAD02-BEDB-1C02-2CBD-B7ADAEFD7583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2A1D208-2132-19F3-8351-D3DB27E8E4E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EF00ADFF-CA6C-6151-9BEE-B2D29BCE0CC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E7E2663E-4B6A-72C6-AFD5-DDE00F8F4D61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41454BF0-75D3-08DF-98EC-BA96B22ECF94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F9B5441A-0457-E7B0-5159-52853373DEA5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86560F5D-A823-11D1-422A-638ED1225E4E}"/>
              </a:ext>
            </a:extLst>
          </p:cNvPr>
          <p:cNvGrpSpPr/>
          <p:nvPr/>
        </p:nvGrpSpPr>
        <p:grpSpPr>
          <a:xfrm>
            <a:off x="5060975" y="4450673"/>
            <a:ext cx="786502" cy="834482"/>
            <a:chOff x="1087852" y="2046694"/>
            <a:chExt cx="786502" cy="834482"/>
          </a:xfrm>
        </p:grpSpPr>
        <p:sp>
          <p:nvSpPr>
            <p:cNvPr id="267" name="Cube 266">
              <a:extLst>
                <a:ext uri="{FF2B5EF4-FFF2-40B4-BE49-F238E27FC236}">
                  <a16:creationId xmlns:a16="http://schemas.microsoft.com/office/drawing/2014/main" id="{493D73F8-A6B2-5E0B-4BC9-4193759AD0C3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B80D4054-50FE-49B9-8153-6043CC4A8AB2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287" name="Group 286">
                <a:extLst>
                  <a:ext uri="{FF2B5EF4-FFF2-40B4-BE49-F238E27FC236}">
                    <a16:creationId xmlns:a16="http://schemas.microsoft.com/office/drawing/2014/main" id="{D8CDAF2F-0B93-4BC5-197D-260797E2467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8194C469-B6B9-C680-C152-E1DD280EEAA8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Oval 292">
                  <a:extLst>
                    <a:ext uri="{FF2B5EF4-FFF2-40B4-BE49-F238E27FC236}">
                      <a16:creationId xmlns:a16="http://schemas.microsoft.com/office/drawing/2014/main" id="{750E89F7-8875-D541-36AD-E86095F225D6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F7D6FB3B-B02B-61D4-068F-3828370F77F3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8" name="Group 287">
                <a:extLst>
                  <a:ext uri="{FF2B5EF4-FFF2-40B4-BE49-F238E27FC236}">
                    <a16:creationId xmlns:a16="http://schemas.microsoft.com/office/drawing/2014/main" id="{B78357A9-5052-0715-1146-0E6E48C4B64A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89" name="Oval 288">
                  <a:extLst>
                    <a:ext uri="{FF2B5EF4-FFF2-40B4-BE49-F238E27FC236}">
                      <a16:creationId xmlns:a16="http://schemas.microsoft.com/office/drawing/2014/main" id="{8E18882A-8428-4F02-3661-88D446F8E92C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Oval 289">
                  <a:extLst>
                    <a:ext uri="{FF2B5EF4-FFF2-40B4-BE49-F238E27FC236}">
                      <a16:creationId xmlns:a16="http://schemas.microsoft.com/office/drawing/2014/main" id="{3818A1D6-44C0-9C9D-37A6-DE9BAF279A5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Oval 290">
                  <a:extLst>
                    <a:ext uri="{FF2B5EF4-FFF2-40B4-BE49-F238E27FC236}">
                      <a16:creationId xmlns:a16="http://schemas.microsoft.com/office/drawing/2014/main" id="{5DE87528-CF9B-C667-28A9-FB22F6FA97A5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7DEF0F24-0725-1911-5810-05C6512D7D0A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279" name="Group 278">
                <a:extLst>
                  <a:ext uri="{FF2B5EF4-FFF2-40B4-BE49-F238E27FC236}">
                    <a16:creationId xmlns:a16="http://schemas.microsoft.com/office/drawing/2014/main" id="{38DE8F49-4CCE-506C-1FAB-1F7CC8DCB702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84" name="Oval 283">
                  <a:extLst>
                    <a:ext uri="{FF2B5EF4-FFF2-40B4-BE49-F238E27FC236}">
                      <a16:creationId xmlns:a16="http://schemas.microsoft.com/office/drawing/2014/main" id="{3895AC44-E0FC-EA01-2124-5ED2A7E317C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Oval 284">
                  <a:extLst>
                    <a:ext uri="{FF2B5EF4-FFF2-40B4-BE49-F238E27FC236}">
                      <a16:creationId xmlns:a16="http://schemas.microsoft.com/office/drawing/2014/main" id="{0512D7EC-AB27-7946-D916-E1624607A1C9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Oval 285">
                  <a:extLst>
                    <a:ext uri="{FF2B5EF4-FFF2-40B4-BE49-F238E27FC236}">
                      <a16:creationId xmlns:a16="http://schemas.microsoft.com/office/drawing/2014/main" id="{47635DEB-B41D-3682-5B4B-3BF3119BBC05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0" name="Group 279">
                <a:extLst>
                  <a:ext uri="{FF2B5EF4-FFF2-40B4-BE49-F238E27FC236}">
                    <a16:creationId xmlns:a16="http://schemas.microsoft.com/office/drawing/2014/main" id="{5F897238-C869-410F-90E1-971D2E26468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99BE2F80-BFB9-ED76-F545-4A43343D041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Oval 281">
                  <a:extLst>
                    <a:ext uri="{FF2B5EF4-FFF2-40B4-BE49-F238E27FC236}">
                      <a16:creationId xmlns:a16="http://schemas.microsoft.com/office/drawing/2014/main" id="{C8A3A883-D184-33CD-4105-102668D225C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Oval 282">
                  <a:extLst>
                    <a:ext uri="{FF2B5EF4-FFF2-40B4-BE49-F238E27FC236}">
                      <a16:creationId xmlns:a16="http://schemas.microsoft.com/office/drawing/2014/main" id="{A205169F-901F-2A0D-4121-DC4035ADF270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68BAC5CE-C4DC-8285-355E-021B1518388C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271" name="Group 270">
                <a:extLst>
                  <a:ext uri="{FF2B5EF4-FFF2-40B4-BE49-F238E27FC236}">
                    <a16:creationId xmlns:a16="http://schemas.microsoft.com/office/drawing/2014/main" id="{D5F434DD-3A6D-39CC-79F4-EE020797CEC4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276" name="Oval 275">
                  <a:extLst>
                    <a:ext uri="{FF2B5EF4-FFF2-40B4-BE49-F238E27FC236}">
                      <a16:creationId xmlns:a16="http://schemas.microsoft.com/office/drawing/2014/main" id="{18BBA67A-135B-88A7-7B6B-FD2B947BAF05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Oval 276">
                  <a:extLst>
                    <a:ext uri="{FF2B5EF4-FFF2-40B4-BE49-F238E27FC236}">
                      <a16:creationId xmlns:a16="http://schemas.microsoft.com/office/drawing/2014/main" id="{81D47592-8145-0F2D-5E6F-73586C1A427A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Oval 277">
                  <a:extLst>
                    <a:ext uri="{FF2B5EF4-FFF2-40B4-BE49-F238E27FC236}">
                      <a16:creationId xmlns:a16="http://schemas.microsoft.com/office/drawing/2014/main" id="{A02B7804-971C-98D3-AAF7-6206F26AFD0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72" name="Group 271">
                <a:extLst>
                  <a:ext uri="{FF2B5EF4-FFF2-40B4-BE49-F238E27FC236}">
                    <a16:creationId xmlns:a16="http://schemas.microsoft.com/office/drawing/2014/main" id="{18B803E4-BF64-6A1E-65AC-F19E24E0A86A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273" name="Oval 272">
                  <a:extLst>
                    <a:ext uri="{FF2B5EF4-FFF2-40B4-BE49-F238E27FC236}">
                      <a16:creationId xmlns:a16="http://schemas.microsoft.com/office/drawing/2014/main" id="{F336BB9B-4132-9A7C-CDE4-DC00835018C9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Oval 273">
                  <a:extLst>
                    <a:ext uri="{FF2B5EF4-FFF2-40B4-BE49-F238E27FC236}">
                      <a16:creationId xmlns:a16="http://schemas.microsoft.com/office/drawing/2014/main" id="{F4FFF1E5-B4FE-2088-FEE2-1AAE6E3BBA6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Oval 274">
                  <a:extLst>
                    <a:ext uri="{FF2B5EF4-FFF2-40B4-BE49-F238E27FC236}">
                      <a16:creationId xmlns:a16="http://schemas.microsoft.com/office/drawing/2014/main" id="{C672AB0B-1BCC-1187-6E67-5E65BFC7CFE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9A975C9E-CD81-09A2-6C08-37EB1F29EAE3}"/>
              </a:ext>
            </a:extLst>
          </p:cNvPr>
          <p:cNvGrpSpPr/>
          <p:nvPr/>
        </p:nvGrpSpPr>
        <p:grpSpPr>
          <a:xfrm>
            <a:off x="6204469" y="2504055"/>
            <a:ext cx="786502" cy="834482"/>
            <a:chOff x="1087852" y="2046694"/>
            <a:chExt cx="786502" cy="834482"/>
          </a:xfrm>
        </p:grpSpPr>
        <p:sp>
          <p:nvSpPr>
            <p:cNvPr id="296" name="Cube 295">
              <a:extLst>
                <a:ext uri="{FF2B5EF4-FFF2-40B4-BE49-F238E27FC236}">
                  <a16:creationId xmlns:a16="http://schemas.microsoft.com/office/drawing/2014/main" id="{4CB24ABE-EBAC-3CF9-21DF-5C855BC501A4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1FA33CF1-2D2D-E66F-BA20-285CA8AC6F75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16" name="Group 315">
                <a:extLst>
                  <a:ext uri="{FF2B5EF4-FFF2-40B4-BE49-F238E27FC236}">
                    <a16:creationId xmlns:a16="http://schemas.microsoft.com/office/drawing/2014/main" id="{93FA147D-1367-A957-C544-8E6BBB1973F3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21" name="Oval 320">
                  <a:extLst>
                    <a:ext uri="{FF2B5EF4-FFF2-40B4-BE49-F238E27FC236}">
                      <a16:creationId xmlns:a16="http://schemas.microsoft.com/office/drawing/2014/main" id="{9D00EF4D-0910-52F0-6EBF-AE4B16BF9B1C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Oval 321">
                  <a:extLst>
                    <a:ext uri="{FF2B5EF4-FFF2-40B4-BE49-F238E27FC236}">
                      <a16:creationId xmlns:a16="http://schemas.microsoft.com/office/drawing/2014/main" id="{8EE2D4DD-4028-C3E3-4B88-0F5E7891A63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Oval 322">
                  <a:extLst>
                    <a:ext uri="{FF2B5EF4-FFF2-40B4-BE49-F238E27FC236}">
                      <a16:creationId xmlns:a16="http://schemas.microsoft.com/office/drawing/2014/main" id="{981A2BBA-3F12-4715-C6F4-7994B4E202C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4D75A1F2-3E29-81DD-3E96-245C0A4756D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18" name="Oval 317">
                  <a:extLst>
                    <a:ext uri="{FF2B5EF4-FFF2-40B4-BE49-F238E27FC236}">
                      <a16:creationId xmlns:a16="http://schemas.microsoft.com/office/drawing/2014/main" id="{C603BFF1-3600-A947-BA05-DCB2810214C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Oval 318">
                  <a:extLst>
                    <a:ext uri="{FF2B5EF4-FFF2-40B4-BE49-F238E27FC236}">
                      <a16:creationId xmlns:a16="http://schemas.microsoft.com/office/drawing/2014/main" id="{DB6E3DDA-B55C-79D5-AF1F-A79D5FB11C57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Oval 319">
                  <a:extLst>
                    <a:ext uri="{FF2B5EF4-FFF2-40B4-BE49-F238E27FC236}">
                      <a16:creationId xmlns:a16="http://schemas.microsoft.com/office/drawing/2014/main" id="{68A10F75-001D-1C42-00E3-91AD9E3AC0EB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DB7D2F6D-4670-DA1A-4EDD-3B7AA4487833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08" name="Group 307">
                <a:extLst>
                  <a:ext uri="{FF2B5EF4-FFF2-40B4-BE49-F238E27FC236}">
                    <a16:creationId xmlns:a16="http://schemas.microsoft.com/office/drawing/2014/main" id="{F4E0C8C7-0462-3B26-CD68-93A001D779B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13" name="Oval 312">
                  <a:extLst>
                    <a:ext uri="{FF2B5EF4-FFF2-40B4-BE49-F238E27FC236}">
                      <a16:creationId xmlns:a16="http://schemas.microsoft.com/office/drawing/2014/main" id="{018871F2-63EC-3100-EA91-009C4B430DE3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Oval 313">
                  <a:extLst>
                    <a:ext uri="{FF2B5EF4-FFF2-40B4-BE49-F238E27FC236}">
                      <a16:creationId xmlns:a16="http://schemas.microsoft.com/office/drawing/2014/main" id="{9383C770-1CCF-4549-4C90-FD2BD058DB64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Oval 314">
                  <a:extLst>
                    <a:ext uri="{FF2B5EF4-FFF2-40B4-BE49-F238E27FC236}">
                      <a16:creationId xmlns:a16="http://schemas.microsoft.com/office/drawing/2014/main" id="{945BC1B1-4982-6CC0-CE31-0EFA47D8B858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08BD82F1-BB96-9A5E-3290-244EEAD75F6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10" name="Oval 309">
                  <a:extLst>
                    <a:ext uri="{FF2B5EF4-FFF2-40B4-BE49-F238E27FC236}">
                      <a16:creationId xmlns:a16="http://schemas.microsoft.com/office/drawing/2014/main" id="{6E819E9C-6E9D-1468-F8EA-914FCDF92B6F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Oval 310">
                  <a:extLst>
                    <a:ext uri="{FF2B5EF4-FFF2-40B4-BE49-F238E27FC236}">
                      <a16:creationId xmlns:a16="http://schemas.microsoft.com/office/drawing/2014/main" id="{BE53E486-2161-E861-A26A-A59C847CCE1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Oval 311">
                  <a:extLst>
                    <a:ext uri="{FF2B5EF4-FFF2-40B4-BE49-F238E27FC236}">
                      <a16:creationId xmlns:a16="http://schemas.microsoft.com/office/drawing/2014/main" id="{DB2DE0D5-3B6D-717F-700D-FC0512FCA5CF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198CFFDC-A7B9-0C33-4291-619C5FA7D4E7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00" name="Group 299">
                <a:extLst>
                  <a:ext uri="{FF2B5EF4-FFF2-40B4-BE49-F238E27FC236}">
                    <a16:creationId xmlns:a16="http://schemas.microsoft.com/office/drawing/2014/main" id="{F6873FA5-1BE0-57FF-8CE3-B8D32DB59E53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05" name="Oval 304">
                  <a:extLst>
                    <a:ext uri="{FF2B5EF4-FFF2-40B4-BE49-F238E27FC236}">
                      <a16:creationId xmlns:a16="http://schemas.microsoft.com/office/drawing/2014/main" id="{F58E24D4-CA6F-1E45-2544-9245E105B24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Oval 305">
                  <a:extLst>
                    <a:ext uri="{FF2B5EF4-FFF2-40B4-BE49-F238E27FC236}">
                      <a16:creationId xmlns:a16="http://schemas.microsoft.com/office/drawing/2014/main" id="{D66A0367-3301-89EF-DAA4-12401DA47A3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Oval 306">
                  <a:extLst>
                    <a:ext uri="{FF2B5EF4-FFF2-40B4-BE49-F238E27FC236}">
                      <a16:creationId xmlns:a16="http://schemas.microsoft.com/office/drawing/2014/main" id="{2BCC5DE9-1D1E-27BC-BF1F-C7F010D3B81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9651FFFA-4629-14BC-9DA6-203AB74BD637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A4947B5A-4C1C-EF60-89B6-96653259D66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85038FEA-2553-A15A-02B6-39A12776026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Oval 303">
                  <a:extLst>
                    <a:ext uri="{FF2B5EF4-FFF2-40B4-BE49-F238E27FC236}">
                      <a16:creationId xmlns:a16="http://schemas.microsoft.com/office/drawing/2014/main" id="{04790D09-9DBB-9843-7FD2-6EF0DD4DCC0E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31673221-E578-CF1E-1647-E755EED8FBE1}"/>
              </a:ext>
            </a:extLst>
          </p:cNvPr>
          <p:cNvGrpSpPr/>
          <p:nvPr/>
        </p:nvGrpSpPr>
        <p:grpSpPr>
          <a:xfrm>
            <a:off x="7216713" y="2587773"/>
            <a:ext cx="786502" cy="724797"/>
            <a:chOff x="2011006" y="2151325"/>
            <a:chExt cx="786502" cy="724797"/>
          </a:xfrm>
        </p:grpSpPr>
        <p:sp>
          <p:nvSpPr>
            <p:cNvPr id="325" name="Cube 324">
              <a:extLst>
                <a:ext uri="{FF2B5EF4-FFF2-40B4-BE49-F238E27FC236}">
                  <a16:creationId xmlns:a16="http://schemas.microsoft.com/office/drawing/2014/main" id="{833EE845-B335-7EE8-327E-16F5CB8A305E}"/>
                </a:ext>
              </a:extLst>
            </p:cNvPr>
            <p:cNvSpPr/>
            <p:nvPr/>
          </p:nvSpPr>
          <p:spPr>
            <a:xfrm>
              <a:off x="2011006" y="2156122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0CD264FA-A982-DAE5-2996-AC66C0AEDF06}"/>
                </a:ext>
              </a:extLst>
            </p:cNvPr>
            <p:cNvGrpSpPr/>
            <p:nvPr/>
          </p:nvGrpSpPr>
          <p:grpSpPr>
            <a:xfrm>
              <a:off x="2091157" y="2408469"/>
              <a:ext cx="394827" cy="408892"/>
              <a:chOff x="2091157" y="2408469"/>
              <a:chExt cx="394827" cy="408892"/>
            </a:xfrm>
          </p:grpSpPr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428FB53A-5CBF-0C89-E494-D1F15CDCE069}"/>
                  </a:ext>
                </a:extLst>
              </p:cNvPr>
              <p:cNvSpPr/>
              <p:nvPr/>
            </p:nvSpPr>
            <p:spPr>
              <a:xfrm rot="19434135">
                <a:off x="20911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DB9A6048-CB90-7B03-07DA-6D047EDE6755}"/>
                  </a:ext>
                </a:extLst>
              </p:cNvPr>
              <p:cNvSpPr/>
              <p:nvPr/>
            </p:nvSpPr>
            <p:spPr>
              <a:xfrm rot="19434135">
                <a:off x="23779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23591C9C-96A2-3BAE-2C04-9E0E66231F28}"/>
                  </a:ext>
                </a:extLst>
              </p:cNvPr>
              <p:cNvSpPr/>
              <p:nvPr/>
            </p:nvSpPr>
            <p:spPr>
              <a:xfrm rot="19434135">
                <a:off x="223457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327" name="Group 326">
              <a:extLst>
                <a:ext uri="{FF2B5EF4-FFF2-40B4-BE49-F238E27FC236}">
                  <a16:creationId xmlns:a16="http://schemas.microsoft.com/office/drawing/2014/main" id="{9787CA92-651D-E2A4-102C-C5FAC60DC47F}"/>
                </a:ext>
              </a:extLst>
            </p:cNvPr>
            <p:cNvGrpSpPr/>
            <p:nvPr/>
          </p:nvGrpSpPr>
          <p:grpSpPr>
            <a:xfrm>
              <a:off x="2485601" y="2336895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30" name="Group 329">
                <a:extLst>
                  <a:ext uri="{FF2B5EF4-FFF2-40B4-BE49-F238E27FC236}">
                    <a16:creationId xmlns:a16="http://schemas.microsoft.com/office/drawing/2014/main" id="{BF21888A-036C-78E7-7591-0D1E4237DCE7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35" name="Oval 334">
                  <a:extLst>
                    <a:ext uri="{FF2B5EF4-FFF2-40B4-BE49-F238E27FC236}">
                      <a16:creationId xmlns:a16="http://schemas.microsoft.com/office/drawing/2014/main" id="{0A4907E2-34F4-AACA-D9BC-60F691CE5E3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DBD33DFB-444F-447A-8D4F-3670A351FDAB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0EC1F07-2232-B9EC-6B13-361061944FC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1" name="Group 330">
                <a:extLst>
                  <a:ext uri="{FF2B5EF4-FFF2-40B4-BE49-F238E27FC236}">
                    <a16:creationId xmlns:a16="http://schemas.microsoft.com/office/drawing/2014/main" id="{246D2861-4D48-3852-0ED3-3B08C1936A35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32" name="Oval 331">
                  <a:extLst>
                    <a:ext uri="{FF2B5EF4-FFF2-40B4-BE49-F238E27FC236}">
                      <a16:creationId xmlns:a16="http://schemas.microsoft.com/office/drawing/2014/main" id="{55BE9DCC-0203-D496-9D85-0203A1E37C12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Oval 332">
                  <a:extLst>
                    <a:ext uri="{FF2B5EF4-FFF2-40B4-BE49-F238E27FC236}">
                      <a16:creationId xmlns:a16="http://schemas.microsoft.com/office/drawing/2014/main" id="{3FFF09B6-C5CA-55B2-77BE-5D62216B5D63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Oval 333">
                  <a:extLst>
                    <a:ext uri="{FF2B5EF4-FFF2-40B4-BE49-F238E27FC236}">
                      <a16:creationId xmlns:a16="http://schemas.microsoft.com/office/drawing/2014/main" id="{39925FE1-23B1-A292-B4E8-130CC4621498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873FA48C-0C6B-87C9-67BD-F43202D15D75}"/>
                </a:ext>
              </a:extLst>
            </p:cNvPr>
            <p:cNvSpPr/>
            <p:nvPr/>
          </p:nvSpPr>
          <p:spPr>
            <a:xfrm rot="21208173">
              <a:off x="2230747" y="21513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E4801C46-D7CC-82E6-3BD0-9D55CFA7E289}"/>
                </a:ext>
              </a:extLst>
            </p:cNvPr>
            <p:cNvSpPr/>
            <p:nvPr/>
          </p:nvSpPr>
          <p:spPr>
            <a:xfrm rot="21208173">
              <a:off x="2431678" y="2225233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isometricOffAxis2Top"/>
              <a:lightRig rig="threePt" dir="t"/>
            </a:scene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D17B19A8-EB4E-29EE-19A2-7E97302765EE}"/>
              </a:ext>
            </a:extLst>
          </p:cNvPr>
          <p:cNvCxnSpPr>
            <a:cxnSpLocks/>
          </p:cNvCxnSpPr>
          <p:nvPr/>
        </p:nvCxnSpPr>
        <p:spPr>
          <a:xfrm flipH="1">
            <a:off x="4926435" y="4445404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ABE29070-6B2E-17EC-A7BE-2F9F9063EEE2}"/>
              </a:ext>
            </a:extLst>
          </p:cNvPr>
          <p:cNvGrpSpPr/>
          <p:nvPr/>
        </p:nvGrpSpPr>
        <p:grpSpPr>
          <a:xfrm>
            <a:off x="4039694" y="4450673"/>
            <a:ext cx="786502" cy="834482"/>
            <a:chOff x="1087852" y="2046694"/>
            <a:chExt cx="786502" cy="834482"/>
          </a:xfrm>
        </p:grpSpPr>
        <p:sp>
          <p:nvSpPr>
            <p:cNvPr id="343" name="Cube 342">
              <a:extLst>
                <a:ext uri="{FF2B5EF4-FFF2-40B4-BE49-F238E27FC236}">
                  <a16:creationId xmlns:a16="http://schemas.microsoft.com/office/drawing/2014/main" id="{7094D2C5-1033-CC7F-EAFB-D28DEB34D529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0A9A5C6B-F494-E71F-A373-D66AA2D15424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7D4245DE-98F0-1AF7-C2BE-59D6DC484530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68" name="Oval 367">
                  <a:extLst>
                    <a:ext uri="{FF2B5EF4-FFF2-40B4-BE49-F238E27FC236}">
                      <a16:creationId xmlns:a16="http://schemas.microsoft.com/office/drawing/2014/main" id="{60799E44-AA57-E84F-7DA4-D49889FB49EB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Oval 368">
                  <a:extLst>
                    <a:ext uri="{FF2B5EF4-FFF2-40B4-BE49-F238E27FC236}">
                      <a16:creationId xmlns:a16="http://schemas.microsoft.com/office/drawing/2014/main" id="{AE3EF948-259C-EE74-284A-605ECBD7DB35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Oval 369">
                  <a:extLst>
                    <a:ext uri="{FF2B5EF4-FFF2-40B4-BE49-F238E27FC236}">
                      <a16:creationId xmlns:a16="http://schemas.microsoft.com/office/drawing/2014/main" id="{8700CA7B-99EC-916C-F13B-526B0DD3626A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64" name="Group 363">
                <a:extLst>
                  <a:ext uri="{FF2B5EF4-FFF2-40B4-BE49-F238E27FC236}">
                    <a16:creationId xmlns:a16="http://schemas.microsoft.com/office/drawing/2014/main" id="{476974EA-7B84-712E-F08B-3324777DA54F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65" name="Oval 364">
                  <a:extLst>
                    <a:ext uri="{FF2B5EF4-FFF2-40B4-BE49-F238E27FC236}">
                      <a16:creationId xmlns:a16="http://schemas.microsoft.com/office/drawing/2014/main" id="{F1442D37-549A-162D-AF89-759768DAFF60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Oval 365">
                  <a:extLst>
                    <a:ext uri="{FF2B5EF4-FFF2-40B4-BE49-F238E27FC236}">
                      <a16:creationId xmlns:a16="http://schemas.microsoft.com/office/drawing/2014/main" id="{9652E50F-26EA-4A32-78E9-45EB827FCDE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Oval 366">
                  <a:extLst>
                    <a:ext uri="{FF2B5EF4-FFF2-40B4-BE49-F238E27FC236}">
                      <a16:creationId xmlns:a16="http://schemas.microsoft.com/office/drawing/2014/main" id="{920B5E53-850D-1FCE-40F7-68A38E3BBF3D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CF5B9A19-C2AD-0D69-1993-9033EAB01531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E515287F-F60F-2D4C-C616-3E24FDE44A79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60" name="Oval 359">
                  <a:extLst>
                    <a:ext uri="{FF2B5EF4-FFF2-40B4-BE49-F238E27FC236}">
                      <a16:creationId xmlns:a16="http://schemas.microsoft.com/office/drawing/2014/main" id="{B84ECA43-E7DA-0A7C-4296-CF0267ADB256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Oval 360">
                  <a:extLst>
                    <a:ext uri="{FF2B5EF4-FFF2-40B4-BE49-F238E27FC236}">
                      <a16:creationId xmlns:a16="http://schemas.microsoft.com/office/drawing/2014/main" id="{25EDE41D-120D-26E3-6408-DF6E6366BE2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Oval 361">
                  <a:extLst>
                    <a:ext uri="{FF2B5EF4-FFF2-40B4-BE49-F238E27FC236}">
                      <a16:creationId xmlns:a16="http://schemas.microsoft.com/office/drawing/2014/main" id="{762C0481-D648-ADAC-894F-3FF04BD557FB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FE5A7839-5756-5EB5-513A-F6DB24546B3D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57" name="Oval 356">
                  <a:extLst>
                    <a:ext uri="{FF2B5EF4-FFF2-40B4-BE49-F238E27FC236}">
                      <a16:creationId xmlns:a16="http://schemas.microsoft.com/office/drawing/2014/main" id="{4A7EB205-4902-7F79-B607-CB2135FC93E6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Oval 357">
                  <a:extLst>
                    <a:ext uri="{FF2B5EF4-FFF2-40B4-BE49-F238E27FC236}">
                      <a16:creationId xmlns:a16="http://schemas.microsoft.com/office/drawing/2014/main" id="{34B6BBFA-7421-607D-ACC5-B7D2CDC45E2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Oval 358">
                  <a:extLst>
                    <a:ext uri="{FF2B5EF4-FFF2-40B4-BE49-F238E27FC236}">
                      <a16:creationId xmlns:a16="http://schemas.microsoft.com/office/drawing/2014/main" id="{B044AA33-C8D3-C820-B4A8-8D96FBF9B146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5E261F3E-3E58-6B53-464A-7AD1AB450062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FC2D72B0-90EA-3B8A-0ABC-18910CCEA056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52" name="Oval 351">
                  <a:extLst>
                    <a:ext uri="{FF2B5EF4-FFF2-40B4-BE49-F238E27FC236}">
                      <a16:creationId xmlns:a16="http://schemas.microsoft.com/office/drawing/2014/main" id="{61997FBA-9512-D2E8-E502-5E9D3DA1826A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Oval 352">
                  <a:extLst>
                    <a:ext uri="{FF2B5EF4-FFF2-40B4-BE49-F238E27FC236}">
                      <a16:creationId xmlns:a16="http://schemas.microsoft.com/office/drawing/2014/main" id="{941AA891-AD77-0877-7D09-DA28E57E6CDC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Oval 353">
                  <a:extLst>
                    <a:ext uri="{FF2B5EF4-FFF2-40B4-BE49-F238E27FC236}">
                      <a16:creationId xmlns:a16="http://schemas.microsoft.com/office/drawing/2014/main" id="{1A6E321B-D1A0-DCB1-1FFD-5116276FA467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8BFDCF2D-B672-6999-D0CE-8C4D255AF22B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DF3FC7D8-BF41-FF47-8A79-6325CB82A11A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F375F9EA-DE97-6B9E-A66D-43C90FD04C6E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Oval 350">
                  <a:extLst>
                    <a:ext uri="{FF2B5EF4-FFF2-40B4-BE49-F238E27FC236}">
                      <a16:creationId xmlns:a16="http://schemas.microsoft.com/office/drawing/2014/main" id="{A1D97B15-F194-E4EA-4FE2-1DBDDCF5F20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1E1FDB5E-67BE-589D-4EEA-86B55D0B10E0}"/>
              </a:ext>
            </a:extLst>
          </p:cNvPr>
          <p:cNvCxnSpPr>
            <a:cxnSpLocks/>
          </p:cNvCxnSpPr>
          <p:nvPr/>
        </p:nvCxnSpPr>
        <p:spPr>
          <a:xfrm flipH="1">
            <a:off x="7084252" y="4495230"/>
            <a:ext cx="1" cy="90000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372" name="Group 371">
            <a:extLst>
              <a:ext uri="{FF2B5EF4-FFF2-40B4-BE49-F238E27FC236}">
                <a16:creationId xmlns:a16="http://schemas.microsoft.com/office/drawing/2014/main" id="{69833ECC-9897-5746-D3F1-F760D9A03CBC}"/>
              </a:ext>
            </a:extLst>
          </p:cNvPr>
          <p:cNvGrpSpPr/>
          <p:nvPr/>
        </p:nvGrpSpPr>
        <p:grpSpPr>
          <a:xfrm>
            <a:off x="6216493" y="4472320"/>
            <a:ext cx="786502" cy="834482"/>
            <a:chOff x="1087852" y="2046694"/>
            <a:chExt cx="786502" cy="834482"/>
          </a:xfrm>
        </p:grpSpPr>
        <p:sp>
          <p:nvSpPr>
            <p:cNvPr id="373" name="Cube 372">
              <a:extLst>
                <a:ext uri="{FF2B5EF4-FFF2-40B4-BE49-F238E27FC236}">
                  <a16:creationId xmlns:a16="http://schemas.microsoft.com/office/drawing/2014/main" id="{61D63ACF-A0D6-7A8F-D31A-2B53F2EECA32}"/>
                </a:ext>
              </a:extLst>
            </p:cNvPr>
            <p:cNvSpPr/>
            <p:nvPr/>
          </p:nvSpPr>
          <p:spPr>
            <a:xfrm>
              <a:off x="1087852" y="2161176"/>
              <a:ext cx="720000" cy="720000"/>
            </a:xfrm>
            <a:prstGeom prst="cube">
              <a:avLst/>
            </a:prstGeom>
            <a:solidFill>
              <a:srgbClr val="B10034"/>
            </a:solidFill>
            <a:ln w="12700" cap="flat" cmpd="sng" algn="ctr">
              <a:solidFill>
                <a:srgbClr val="B1003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374" name="Group 373">
              <a:extLst>
                <a:ext uri="{FF2B5EF4-FFF2-40B4-BE49-F238E27FC236}">
                  <a16:creationId xmlns:a16="http://schemas.microsoft.com/office/drawing/2014/main" id="{603F5B23-1F1B-A74C-A5C6-2CA55C608617}"/>
                </a:ext>
              </a:extLst>
            </p:cNvPr>
            <p:cNvGrpSpPr/>
            <p:nvPr/>
          </p:nvGrpSpPr>
          <p:grpSpPr>
            <a:xfrm>
              <a:off x="1200044" y="2428589"/>
              <a:ext cx="311907" cy="403401"/>
              <a:chOff x="1200044" y="2428589"/>
              <a:chExt cx="311907" cy="403401"/>
            </a:xfrm>
          </p:grpSpPr>
          <p:grpSp>
            <p:nvGrpSpPr>
              <p:cNvPr id="393" name="Group 392">
                <a:extLst>
                  <a:ext uri="{FF2B5EF4-FFF2-40B4-BE49-F238E27FC236}">
                    <a16:creationId xmlns:a16="http://schemas.microsoft.com/office/drawing/2014/main" id="{DD4DDE1F-5A63-B173-73F2-B27BCAC1EBDB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98" name="Oval 397">
                  <a:extLst>
                    <a:ext uri="{FF2B5EF4-FFF2-40B4-BE49-F238E27FC236}">
                      <a16:creationId xmlns:a16="http://schemas.microsoft.com/office/drawing/2014/main" id="{BB59ADD8-1782-3BE1-C3CE-5370FB30EE3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Oval 398">
                  <a:extLst>
                    <a:ext uri="{FF2B5EF4-FFF2-40B4-BE49-F238E27FC236}">
                      <a16:creationId xmlns:a16="http://schemas.microsoft.com/office/drawing/2014/main" id="{96685AD1-7AB6-E425-AAC0-AC93A51F6FFD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Oval 399">
                  <a:extLst>
                    <a:ext uri="{FF2B5EF4-FFF2-40B4-BE49-F238E27FC236}">
                      <a16:creationId xmlns:a16="http://schemas.microsoft.com/office/drawing/2014/main" id="{5520B9AA-504E-4021-CEA8-E1A62ED1BAA9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94" name="Group 393">
                <a:extLst>
                  <a:ext uri="{FF2B5EF4-FFF2-40B4-BE49-F238E27FC236}">
                    <a16:creationId xmlns:a16="http://schemas.microsoft.com/office/drawing/2014/main" id="{3A0A077C-AD59-E662-0BA8-88EFFEFD0906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95" name="Oval 394">
                  <a:extLst>
                    <a:ext uri="{FF2B5EF4-FFF2-40B4-BE49-F238E27FC236}">
                      <a16:creationId xmlns:a16="http://schemas.microsoft.com/office/drawing/2014/main" id="{4008EFD5-1969-E17D-77F0-8FBA37BDC87D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Oval 395">
                  <a:extLst>
                    <a:ext uri="{FF2B5EF4-FFF2-40B4-BE49-F238E27FC236}">
                      <a16:creationId xmlns:a16="http://schemas.microsoft.com/office/drawing/2014/main" id="{94CA113A-A96F-146C-9B48-62A179651586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Oval 396">
                  <a:extLst>
                    <a:ext uri="{FF2B5EF4-FFF2-40B4-BE49-F238E27FC236}">
                      <a16:creationId xmlns:a16="http://schemas.microsoft.com/office/drawing/2014/main" id="{5A5955E1-9056-9023-FE4C-F1FF4A03ECCA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id="{98F23792-EDFC-F095-4DF9-CCA6CB922B88}"/>
                </a:ext>
              </a:extLst>
            </p:cNvPr>
            <p:cNvGrpSpPr/>
            <p:nvPr/>
          </p:nvGrpSpPr>
          <p:grpSpPr>
            <a:xfrm>
              <a:off x="1562447" y="2341949"/>
              <a:ext cx="311907" cy="403401"/>
              <a:chOff x="1200044" y="2428589"/>
              <a:chExt cx="311907" cy="403401"/>
            </a:xfrm>
            <a:scene3d>
              <a:camera prst="isometricOffAxis2Right"/>
              <a:lightRig rig="threePt" dir="t"/>
            </a:scene3d>
          </p:grpSpPr>
          <p:grpSp>
            <p:nvGrpSpPr>
              <p:cNvPr id="385" name="Group 384">
                <a:extLst>
                  <a:ext uri="{FF2B5EF4-FFF2-40B4-BE49-F238E27FC236}">
                    <a16:creationId xmlns:a16="http://schemas.microsoft.com/office/drawing/2014/main" id="{6CB35058-38B9-B8EA-B29E-14D4A3BB583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90" name="Oval 389">
                  <a:extLst>
                    <a:ext uri="{FF2B5EF4-FFF2-40B4-BE49-F238E27FC236}">
                      <a16:creationId xmlns:a16="http://schemas.microsoft.com/office/drawing/2014/main" id="{9DAA5015-5DF2-FE0C-C264-0718DC4B6502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Oval 390">
                  <a:extLst>
                    <a:ext uri="{FF2B5EF4-FFF2-40B4-BE49-F238E27FC236}">
                      <a16:creationId xmlns:a16="http://schemas.microsoft.com/office/drawing/2014/main" id="{6FF3274F-923D-9EAA-9F96-E7FE1184A500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Oval 391">
                  <a:extLst>
                    <a:ext uri="{FF2B5EF4-FFF2-40B4-BE49-F238E27FC236}">
                      <a16:creationId xmlns:a16="http://schemas.microsoft.com/office/drawing/2014/main" id="{71B2AC7D-9B11-1E36-C422-1A1B15A811ED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6" name="Group 385">
                <a:extLst>
                  <a:ext uri="{FF2B5EF4-FFF2-40B4-BE49-F238E27FC236}">
                    <a16:creationId xmlns:a16="http://schemas.microsoft.com/office/drawing/2014/main" id="{226C3BB7-81FE-4E1E-6AB2-2DC7F386E37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3DD2F277-72F2-2302-8518-E11602281FE8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35F048AC-E1E6-D6FA-B2FD-B00EBC87FD69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E1B320B6-DB25-6461-C5EF-42A7870C05E5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741F1BF0-2B97-A239-EAF1-E47EB77198F0}"/>
                </a:ext>
              </a:extLst>
            </p:cNvPr>
            <p:cNvGrpSpPr/>
            <p:nvPr/>
          </p:nvGrpSpPr>
          <p:grpSpPr>
            <a:xfrm rot="21208173">
              <a:off x="1296136" y="2046694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377" name="Group 376">
                <a:extLst>
                  <a:ext uri="{FF2B5EF4-FFF2-40B4-BE49-F238E27FC236}">
                    <a16:creationId xmlns:a16="http://schemas.microsoft.com/office/drawing/2014/main" id="{9F56C07D-751D-284C-CA64-85168C7BAABD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9B4076E7-2FED-5959-FCF4-0E10388562B4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1477CF68-BE99-397B-A2C2-F61CF0268D78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3712B25-5666-71E1-6450-CBCA2EF230F4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78" name="Group 377">
                <a:extLst>
                  <a:ext uri="{FF2B5EF4-FFF2-40B4-BE49-F238E27FC236}">
                    <a16:creationId xmlns:a16="http://schemas.microsoft.com/office/drawing/2014/main" id="{1028EB64-4261-4EE8-30AB-2D83AEDE324E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379" name="Oval 378">
                  <a:extLst>
                    <a:ext uri="{FF2B5EF4-FFF2-40B4-BE49-F238E27FC236}">
                      <a16:creationId xmlns:a16="http://schemas.microsoft.com/office/drawing/2014/main" id="{ED9876FE-F61A-71EA-A637-244C8E8BEC2B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Oval 379">
                  <a:extLst>
                    <a:ext uri="{FF2B5EF4-FFF2-40B4-BE49-F238E27FC236}">
                      <a16:creationId xmlns:a16="http://schemas.microsoft.com/office/drawing/2014/main" id="{1700C3F9-0376-3E52-A277-0BBDE989D212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Oval 380">
                  <a:extLst>
                    <a:ext uri="{FF2B5EF4-FFF2-40B4-BE49-F238E27FC236}">
                      <a16:creationId xmlns:a16="http://schemas.microsoft.com/office/drawing/2014/main" id="{6157D71C-3064-5C2F-EF01-77209C607947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4B8FC4C0-64F0-E9A2-6E7A-16FD5A1BE7CA}"/>
              </a:ext>
            </a:extLst>
          </p:cNvPr>
          <p:cNvGrpSpPr/>
          <p:nvPr/>
        </p:nvGrpSpPr>
        <p:grpSpPr>
          <a:xfrm>
            <a:off x="7152456" y="4451393"/>
            <a:ext cx="948428" cy="828746"/>
            <a:chOff x="7152456" y="4451393"/>
            <a:chExt cx="948428" cy="828746"/>
          </a:xfrm>
        </p:grpSpPr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56564208-95C3-18E8-EF58-7075EAD08203}"/>
                </a:ext>
              </a:extLst>
            </p:cNvPr>
            <p:cNvSpPr txBox="1"/>
            <p:nvPr/>
          </p:nvSpPr>
          <p:spPr>
            <a:xfrm>
              <a:off x="7710143" y="5006595"/>
              <a:ext cx="390741" cy="16927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46464">
                      <a:lumMod val="75000"/>
                    </a:srgbClr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403" name="Cube 402">
              <a:extLst>
                <a:ext uri="{FF2B5EF4-FFF2-40B4-BE49-F238E27FC236}">
                  <a16:creationId xmlns:a16="http://schemas.microsoft.com/office/drawing/2014/main" id="{A02E748E-A507-7FBC-E9EE-D383EFE69C39}"/>
                </a:ext>
              </a:extLst>
            </p:cNvPr>
            <p:cNvSpPr/>
            <p:nvPr/>
          </p:nvSpPr>
          <p:spPr>
            <a:xfrm>
              <a:off x="7227779" y="4560139"/>
              <a:ext cx="720000" cy="720000"/>
            </a:xfrm>
            <a:prstGeom prst="cube">
              <a:avLst/>
            </a:prstGeom>
            <a:solidFill>
              <a:srgbClr val="646464"/>
            </a:solidFill>
            <a:ln w="12700" cap="flat" cmpd="sng" algn="ctr">
              <a:solidFill>
                <a:srgbClr val="D9D9D9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62A824FF-9411-CB4A-5462-C979FF3E8545}"/>
                </a:ext>
              </a:extLst>
            </p:cNvPr>
            <p:cNvGrpSpPr/>
            <p:nvPr/>
          </p:nvGrpSpPr>
          <p:grpSpPr>
            <a:xfrm>
              <a:off x="7686606" y="4751047"/>
              <a:ext cx="356727" cy="408892"/>
              <a:chOff x="2103857" y="2408469"/>
              <a:chExt cx="356727" cy="408892"/>
            </a:xfrm>
            <a:scene3d>
              <a:camera prst="isometricOffAxis2Right"/>
              <a:lightRig rig="threePt" dir="t"/>
            </a:scene3d>
          </p:grpSpPr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8D27699C-9C11-5F31-78D1-237E7A479231}"/>
                  </a:ext>
                </a:extLst>
              </p:cNvPr>
              <p:cNvSpPr/>
              <p:nvPr/>
            </p:nvSpPr>
            <p:spPr>
              <a:xfrm rot="19434135">
                <a:off x="2103857" y="2408469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DE47FEFB-B0A1-FAE5-BFFE-A3642EC2A3FE}"/>
                  </a:ext>
                </a:extLst>
              </p:cNvPr>
              <p:cNvSpPr/>
              <p:nvPr/>
            </p:nvSpPr>
            <p:spPr>
              <a:xfrm rot="19434135">
                <a:off x="2352584" y="2709361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3A7E0159-7A0F-135A-33A3-506A596D3DDF}"/>
                  </a:ext>
                </a:extLst>
              </p:cNvPr>
              <p:cNvSpPr/>
              <p:nvPr/>
            </p:nvSpPr>
            <p:spPr>
              <a:xfrm rot="19434135">
                <a:off x="2228221" y="2558915"/>
                <a:ext cx="108000" cy="10800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3AE2F978-0DA5-C619-F29C-AA965CCFFB57}"/>
                </a:ext>
              </a:extLst>
            </p:cNvPr>
            <p:cNvGrpSpPr/>
            <p:nvPr/>
          </p:nvGrpSpPr>
          <p:grpSpPr>
            <a:xfrm rot="21120158">
              <a:off x="7443635" y="4451393"/>
              <a:ext cx="311907" cy="403401"/>
              <a:chOff x="1200044" y="2428589"/>
              <a:chExt cx="311907" cy="403401"/>
            </a:xfrm>
            <a:scene3d>
              <a:camera prst="isometricOffAxis2Top"/>
              <a:lightRig rig="threePt" dir="t"/>
            </a:scene3d>
          </p:grpSpPr>
          <p:grpSp>
            <p:nvGrpSpPr>
              <p:cNvPr id="409" name="Group 408">
                <a:extLst>
                  <a:ext uri="{FF2B5EF4-FFF2-40B4-BE49-F238E27FC236}">
                    <a16:creationId xmlns:a16="http://schemas.microsoft.com/office/drawing/2014/main" id="{226D9D9C-C1D1-0E4B-D2C9-E454EFDFFBAE}"/>
                  </a:ext>
                </a:extLst>
              </p:cNvPr>
              <p:cNvGrpSpPr/>
              <p:nvPr/>
            </p:nvGrpSpPr>
            <p:grpSpPr>
              <a:xfrm>
                <a:off x="1200044" y="2428589"/>
                <a:ext cx="108000" cy="403401"/>
                <a:chOff x="1209280" y="2428589"/>
                <a:chExt cx="108000" cy="403401"/>
              </a:xfrm>
            </p:grpSpPr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BE25800E-5E75-DEA7-22A2-C1B9E4C6C410}"/>
                    </a:ext>
                  </a:extLst>
                </p:cNvPr>
                <p:cNvSpPr/>
                <p:nvPr/>
              </p:nvSpPr>
              <p:spPr>
                <a:xfrm>
                  <a:off x="1209280" y="24285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Oval 414">
                  <a:extLst>
                    <a:ext uri="{FF2B5EF4-FFF2-40B4-BE49-F238E27FC236}">
                      <a16:creationId xmlns:a16="http://schemas.microsoft.com/office/drawing/2014/main" id="{B3EA5E9E-A278-94B9-354F-326153F93083}"/>
                    </a:ext>
                  </a:extLst>
                </p:cNvPr>
                <p:cNvSpPr/>
                <p:nvPr/>
              </p:nvSpPr>
              <p:spPr>
                <a:xfrm>
                  <a:off x="1209280" y="2723990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Oval 415">
                  <a:extLst>
                    <a:ext uri="{FF2B5EF4-FFF2-40B4-BE49-F238E27FC236}">
                      <a16:creationId xmlns:a16="http://schemas.microsoft.com/office/drawing/2014/main" id="{9F29944D-FFAA-90BB-5C04-B2DC651CC8C0}"/>
                    </a:ext>
                  </a:extLst>
                </p:cNvPr>
                <p:cNvSpPr/>
                <p:nvPr/>
              </p:nvSpPr>
              <p:spPr>
                <a:xfrm>
                  <a:off x="1209280" y="25762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10" name="Group 409">
                <a:extLst>
                  <a:ext uri="{FF2B5EF4-FFF2-40B4-BE49-F238E27FC236}">
                    <a16:creationId xmlns:a16="http://schemas.microsoft.com/office/drawing/2014/main" id="{894E3940-8B03-1A5C-B779-EE41378F3EF1}"/>
                  </a:ext>
                </a:extLst>
              </p:cNvPr>
              <p:cNvGrpSpPr/>
              <p:nvPr/>
            </p:nvGrpSpPr>
            <p:grpSpPr>
              <a:xfrm>
                <a:off x="1403951" y="2428589"/>
                <a:ext cx="108000" cy="395265"/>
                <a:chOff x="1525070" y="2446124"/>
                <a:chExt cx="108000" cy="395265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307BCAF7-4BB8-CD4E-5404-FDECBB0141A0}"/>
                    </a:ext>
                  </a:extLst>
                </p:cNvPr>
                <p:cNvSpPr/>
                <p:nvPr/>
              </p:nvSpPr>
              <p:spPr>
                <a:xfrm>
                  <a:off x="1525070" y="2446124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45CA814A-9673-BA46-839A-FABAF562B5E4}"/>
                    </a:ext>
                  </a:extLst>
                </p:cNvPr>
                <p:cNvSpPr/>
                <p:nvPr/>
              </p:nvSpPr>
              <p:spPr>
                <a:xfrm>
                  <a:off x="1525070" y="2589757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89E41341-E7A3-59AB-C780-62DEB3101750}"/>
                    </a:ext>
                  </a:extLst>
                </p:cNvPr>
                <p:cNvSpPr/>
                <p:nvPr/>
              </p:nvSpPr>
              <p:spPr>
                <a:xfrm>
                  <a:off x="1525070" y="2733389"/>
                  <a:ext cx="108000" cy="108000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06" name="Oval 405">
              <a:extLst>
                <a:ext uri="{FF2B5EF4-FFF2-40B4-BE49-F238E27FC236}">
                  <a16:creationId xmlns:a16="http://schemas.microsoft.com/office/drawing/2014/main" id="{DC5B9CCE-3F29-5D0D-731C-FF487148B283}"/>
                </a:ext>
              </a:extLst>
            </p:cNvPr>
            <p:cNvSpPr/>
            <p:nvPr/>
          </p:nvSpPr>
          <p:spPr>
            <a:xfrm>
              <a:off x="7305083" y="482157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62D5D6B8-5B2B-1D14-72CD-3518F3E34D3A}"/>
                </a:ext>
              </a:extLst>
            </p:cNvPr>
            <p:cNvSpPr/>
            <p:nvPr/>
          </p:nvSpPr>
          <p:spPr>
            <a:xfrm>
              <a:off x="7574361" y="5072911"/>
              <a:ext cx="108000" cy="108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408" name="Connector: Curved 407">
              <a:extLst>
                <a:ext uri="{FF2B5EF4-FFF2-40B4-BE49-F238E27FC236}">
                  <a16:creationId xmlns:a16="http://schemas.microsoft.com/office/drawing/2014/main" id="{313C06A8-5D5F-5ACA-C16A-E37A0322FB1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128716" y="4565445"/>
              <a:ext cx="233357" cy="185877"/>
            </a:xfrm>
            <a:prstGeom prst="curvedConnector3">
              <a:avLst>
                <a:gd name="adj1" fmla="val -73741"/>
              </a:avLst>
            </a:prstGeom>
            <a:noFill/>
            <a:ln w="6350" cap="flat" cmpd="sng" algn="ctr">
              <a:solidFill>
                <a:srgbClr val="646464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</p:grpSp>
      <p:sp>
        <p:nvSpPr>
          <p:cNvPr id="420" name="TextBox 419">
            <a:extLst>
              <a:ext uri="{FF2B5EF4-FFF2-40B4-BE49-F238E27FC236}">
                <a16:creationId xmlns:a16="http://schemas.microsoft.com/office/drawing/2014/main" id="{91FDF269-361B-4256-DEB0-D9F74E295D7D}"/>
              </a:ext>
            </a:extLst>
          </p:cNvPr>
          <p:cNvSpPr txBox="1"/>
          <p:nvPr/>
        </p:nvSpPr>
        <p:spPr>
          <a:xfrm>
            <a:off x="3853060" y="3720064"/>
            <a:ext cx="2146751" cy="1980000"/>
          </a:xfrm>
          <a:prstGeom prst="rect">
            <a:avLst/>
          </a:prstGeom>
          <a:noFill/>
          <a:ln w="9525">
            <a:solidFill>
              <a:srgbClr val="A0A0A0">
                <a:lumMod val="10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fontAlgn="base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050" b="0"/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8C8C8C"/>
              </a:buClr>
              <a:buSzTx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oth groups get a loaded die.</a:t>
            </a:r>
          </a:p>
        </p:txBody>
      </p:sp>
    </p:spTree>
    <p:extLst>
      <p:ext uri="{BB962C8B-B14F-4D97-AF65-F5344CB8AC3E}">
        <p14:creationId xmlns:p14="http://schemas.microsoft.com/office/powerpoint/2010/main" val="213600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0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749.7879&quot; /&gt;&lt;column field=&quot;responsible&quot; label=&quot;Responsible&quot; visible=&quot;1&quot; checked=&quot;0&quot; leftSpacing=&quot;10&quot; rightDistribute=&quot;1&quot; dock=&quot;1&quot; rightSpacing=&quot;318.282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dfd260b9-3963-403b-a23d-cdc6cbc9e781&quot; parentId=&quot;&quot; level=&quot;1&quot; generateAgendaSlide=&quot;1&quot; showAgendaItem=&quot;1&quot; isBreak=&quot;0&quot; topic=&quot;Procedure&quot; agendaSlideId=&quot;667de1fc-1924-4e10-a8e5-e7e3d66b993c&quot; /&gt;&lt;item duration=&quot;30&quot; id=&quot;2ee6474c-ac38-4cf6-8edc-835745358a5c&quot; parentId=&quot;&quot; level=&quot;1&quot; generateAgendaSlide=&quot;1&quot; showAgendaItem=&quot;1&quot; isBreak=&quot;0&quot; topic=&quot;Images&quot; agendaSlideId=&quot;cbdc6836-d9fe-46cd-ba93-f2f314c89e19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Topic"/>
  <p:tag name="EE4P_AGENDAWIZARD_CONTENT" val="/Images"/>
  <p:tag name="EE4P_AGENDAWIZARD_PROPERTIES" val="85.08276/179.8328/84.44165/39.5828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ItemNo"/>
  <p:tag name="EE4P_AGENDAWIZARD_CONTENT" val="/2"/>
  <p:tag name="EE4P_AGENDAWIZARD_PROPERTIES" val="40.49992/179.8328/39.58284/39.5828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Topic"/>
  <p:tag name="EE4P_AGENDAWIZARD_CONTENT" val="/Procedure"/>
  <p:tag name="EE4P_AGENDAWIZARD_PROPERTIES" val="85.08276/135.25/84.44165/39.5828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ItemNo"/>
  <p:tag name="EE4P_AGENDAWIZARD_CONTENT" val="/1"/>
  <p:tag name="EE4P_AGENDAWIZARD_PROPERTIES" val="40.49992/135.25/39.58284/39.5828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67de1fc-1924-4e10-a8e5-e7e3d66b993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Topic"/>
  <p:tag name="EE4P_AGENDAWIZARD_CONTENT" val="/Images"/>
  <p:tag name="EE4P_AGENDAWIZARD_PROPERTIES" val="85.08276/179.8328/84.44165/39.5828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c6836-d9fe-46cd-ba93-f2f314c89e19_ItemNo"/>
  <p:tag name="EE4P_AGENDAWIZARD_CONTENT" val="/2"/>
  <p:tag name="EE4P_AGENDAWIZARD_PROPERTIES" val="40.49992/179.8328/39.58284/39.5828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El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Topic"/>
  <p:tag name="EE4P_AGENDAWIZARD_CONTENT" val="/Procedure"/>
  <p:tag name="EE4P_AGENDAWIZARD_PROPERTIES" val="85.08276/135.25/84.44165/39.5828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67de1fc-1924-4e10-a8e5-e7e3d66b993c_ItemNo"/>
  <p:tag name="EE4P_AGENDAWIZARD_CONTENT" val="/1"/>
  <p:tag name="EE4P_AGENDAWIZARD_PROPERTIES" val="40.49992/135.25/39.58284/39.5828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bdc6836-d9fe-46cd-ba93-f2f314c89e19"/>
</p:tagLst>
</file>

<file path=ppt/theme/theme1.xml><?xml version="1.0" encoding="utf-8"?>
<a:theme xmlns:a="http://schemas.openxmlformats.org/drawingml/2006/main" name="Universität Hohenheim">
  <a:themeElements>
    <a:clrScheme name="UHOH">
      <a:dk1>
        <a:srgbClr val="000000"/>
      </a:dk1>
      <a:lt1>
        <a:srgbClr val="FFFFFF"/>
      </a:lt1>
      <a:dk2>
        <a:srgbClr val="004080"/>
      </a:dk2>
      <a:lt2>
        <a:srgbClr val="D9D9D9"/>
      </a:lt2>
      <a:accent1>
        <a:srgbClr val="FFF0C8"/>
      </a:accent1>
      <a:accent2>
        <a:srgbClr val="2694FE"/>
      </a:accent2>
      <a:accent3>
        <a:srgbClr val="889194"/>
      </a:accent3>
      <a:accent4>
        <a:srgbClr val="D2E9FF"/>
      </a:accent4>
      <a:accent5>
        <a:srgbClr val="179C7D"/>
      </a:accent5>
      <a:accent6>
        <a:srgbClr val="B10034"/>
      </a:accent6>
      <a:hlink>
        <a:srgbClr val="004080"/>
      </a:hlink>
      <a:folHlink>
        <a:srgbClr val="2694FE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_16x9_DE.potx" id="{397CB93F-CD6F-44E9-A982-38B5EBB5B552}" vid="{58422DA1-C179-41B8-9398-577C7904E0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D40E3B217D0349A9B90888B1661080" ma:contentTypeVersion="18" ma:contentTypeDescription="Ein neues Dokument erstellen." ma:contentTypeScope="" ma:versionID="764b1ad873ccb0f0714832b930aadbaa">
  <xsd:schema xmlns:xsd="http://www.w3.org/2001/XMLSchema" xmlns:xs="http://www.w3.org/2001/XMLSchema" xmlns:p="http://schemas.microsoft.com/office/2006/metadata/properties" xmlns:ns2="82939fe7-fed6-4672-80ba-cc90af4b9bed" xmlns:ns3="faa56796-c7b2-4d3e-b63e-71a1b6748a23" targetNamespace="http://schemas.microsoft.com/office/2006/metadata/properties" ma:root="true" ma:fieldsID="c72cd9002f60bcb8de5f339466d89e5c" ns2:_="" ns3:_="">
    <xsd:import namespace="82939fe7-fed6-4672-80ba-cc90af4b9bed"/>
    <xsd:import namespace="faa56796-c7b2-4d3e-b63e-71a1b6748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39fe7-fed6-4672-80ba-cc90af4b9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e00f353-0966-4817-9458-30baef77f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56796-c7b2-4d3e-b63e-71a1b6748a2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a49ca97-bd99-439f-af16-6493a29938e0}" ma:internalName="TaxCatchAll" ma:showField="CatchAllData" ma:web="faa56796-c7b2-4d3e-b63e-71a1b6748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a56796-c7b2-4d3e-b63e-71a1b6748a23" xsi:nil="true"/>
    <lcf76f155ced4ddcb4097134ff3c332f xmlns="82939fe7-fed6-4672-80ba-cc90af4b9be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6DAB75-6D41-41F3-8CB1-BF6BFB247B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39fe7-fed6-4672-80ba-cc90af4b9bed"/>
    <ds:schemaRef ds:uri="faa56796-c7b2-4d3e-b63e-71a1b6748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BA62DE-A85D-42F2-9269-7C5BB32494CB}">
  <ds:schemaRefs>
    <ds:schemaRef ds:uri="82939fe7-fed6-4672-80ba-cc90af4b9bed"/>
    <ds:schemaRef ds:uri="faa56796-c7b2-4d3e-b63e-71a1b6748a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M_Folienmaster_16x9_DE</Template>
  <TotalTime>0</TotalTime>
  <Words>636</Words>
  <Application>Microsoft Office PowerPoint</Application>
  <PresentationFormat>Widescreen</PresentationFormat>
  <Paragraphs>88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urier New</vt:lpstr>
      <vt:lpstr>Trebuchet MS</vt:lpstr>
      <vt:lpstr>Wingdings</vt:lpstr>
      <vt:lpstr>Universität Hohenheim</vt:lpstr>
      <vt:lpstr>FairDice: An interactive lecture hall experiment to showcase the nuances of fairness</vt:lpstr>
      <vt:lpstr>Agenda</vt:lpstr>
      <vt:lpstr>Procedure of the lecture hall experiment</vt:lpstr>
      <vt:lpstr>Analysis of the lecture hall experiment</vt:lpstr>
      <vt:lpstr>Agenda</vt:lpstr>
      <vt:lpstr>A simple game about fairness.</vt:lpstr>
      <vt:lpstr>A simple game about fairnes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yer-Hollatz, Tim</dc:creator>
  <cp:keywords/>
  <cp:lastModifiedBy>Deck, Luca</cp:lastModifiedBy>
  <cp:revision>18</cp:revision>
  <dcterms:created xsi:type="dcterms:W3CDTF">2022-03-24T08:32:59Z</dcterms:created>
  <dcterms:modified xsi:type="dcterms:W3CDTF">2024-02-14T10:38:3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40E3B217D0349A9B90888B1661080</vt:lpwstr>
  </property>
  <property fmtid="{D5CDD505-2E9C-101B-9397-08002B2CF9AE}" pid="3" name="MediaServiceImageTags">
    <vt:lpwstr/>
  </property>
</Properties>
</file>